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"/>
    <p:sldMasterId id="2147483654" r:id="rId2"/>
  </p:sldMasterIdLst>
  <p:notesMasterIdLst>
    <p:notesMasterId r:id="rId23"/>
  </p:notesMasterIdLst>
  <p:sldIdLst>
    <p:sldId id="282" r:id="rId3"/>
    <p:sldId id="257" r:id="rId4"/>
    <p:sldId id="2147472706" r:id="rId5"/>
    <p:sldId id="2147472460" r:id="rId6"/>
    <p:sldId id="2147472300" r:id="rId7"/>
    <p:sldId id="2147472260" r:id="rId8"/>
    <p:sldId id="256" r:id="rId9"/>
    <p:sldId id="259" r:id="rId10"/>
    <p:sldId id="262" r:id="rId11"/>
    <p:sldId id="264" r:id="rId12"/>
    <p:sldId id="265" r:id="rId13"/>
    <p:sldId id="266" r:id="rId14"/>
    <p:sldId id="268" r:id="rId15"/>
    <p:sldId id="283" r:id="rId16"/>
    <p:sldId id="270" r:id="rId17"/>
    <p:sldId id="271" r:id="rId18"/>
    <p:sldId id="273" r:id="rId19"/>
    <p:sldId id="274" r:id="rId20"/>
    <p:sldId id="275" r:id="rId21"/>
    <p:sldId id="278" r:id="rId22"/>
  </p:sldIdLst>
  <p:sldSz cx="12192000" cy="6858000"/>
  <p:notesSz cx="6858000" cy="9144000"/>
  <p:embeddedFontLs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Georgia" panose="02040502050405020303" pitchFamily="18" charset="0"/>
      <p:regular r:id="rId28"/>
      <p:bold r:id="rId29"/>
      <p:italic r:id="rId30"/>
      <p:boldItalic r:id="rId31"/>
    </p:embeddedFont>
    <p:embeddedFont>
      <p:font typeface="Helvetica Neue" panose="020B0604020202020204" charset="0"/>
      <p:regular r:id="rId32"/>
      <p:bold r:id="rId33"/>
      <p:italic r:id="rId34"/>
      <p:boldItalic r:id="rId3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7" roundtripDataSignature="AMtx7mjzGLij1NOSp4DK7P8kGg7UhAp4O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1324"/>
    <a:srgbClr val="0A0B12"/>
    <a:srgbClr val="D04A02"/>
    <a:srgbClr val="571A00"/>
    <a:srgbClr val="0908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070" autoAdjust="0"/>
  </p:normalViewPr>
  <p:slideViewPr>
    <p:cSldViewPr snapToGrid="0">
      <p:cViewPr varScale="1">
        <p:scale>
          <a:sx n="93" d="100"/>
          <a:sy n="93" d="100"/>
        </p:scale>
        <p:origin x="115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3.fntdata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font" Target="fonts/font11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6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customschemas.google.com/relationships/presentationmetadata" Target="metadata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5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font" Target="fonts/font12.fntdata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exander.plenborg\DSV\IR%20-%20General\Presentations\MASTER%20PRESENTATION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exander.plenborg\DSV\IR%20-%20General\Presentations\MASTER%20PRESENTATIONS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exander.plenborg\DSV\IR%20-%20General\Presentations\MASTER%20PRESENTATIONS.xlsx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alexander.plenborg\DSV\IR%20-%20General\Presentations\MASTER%20PRESENTATION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99449958234567E-2"/>
          <c:y val="9.0671589467125849E-2"/>
          <c:w val="0.94650358191778594"/>
          <c:h val="0.90932841053287417"/>
        </c:manualLayout>
      </c:layout>
      <c:lineChart>
        <c:grouping val="standard"/>
        <c:varyColors val="0"/>
        <c:ser>
          <c:idx val="0"/>
          <c:order val="0"/>
          <c:tx>
            <c:strRef>
              <c:f>'Global Network'!$B$4</c:f>
              <c:strCache>
                <c:ptCount val="1"/>
                <c:pt idx="0">
                  <c:v>Turnover</c:v>
                </c:pt>
              </c:strCache>
            </c:strRef>
          </c:tx>
          <c:spPr>
            <a:ln w="31750">
              <a:solidFill>
                <a:schemeClr val="tx1"/>
              </a:solidFill>
            </a:ln>
          </c:spPr>
          <c:marker>
            <c:symbol val="circle"/>
            <c:size val="4"/>
            <c:spPr>
              <a:solidFill>
                <a:srgbClr val="0431A6"/>
              </a:solidFill>
              <a:ln w="28575">
                <a:solidFill>
                  <a:srgbClr val="0431A6"/>
                </a:solidFill>
              </a:ln>
            </c:spPr>
          </c:marker>
          <c:dLbls>
            <c:delete val="1"/>
          </c:dLbls>
          <c:cat>
            <c:numRef>
              <c:f>'Global Network'!$D$3:$L$3</c:f>
              <c:numCache>
                <c:formatCode>General</c:formatCode>
                <c:ptCount val="9"/>
                <c:pt idx="0">
                  <c:v>1976</c:v>
                </c:pt>
                <c:pt idx="1">
                  <c:v>1997</c:v>
                </c:pt>
                <c:pt idx="2">
                  <c:v>2000</c:v>
                </c:pt>
                <c:pt idx="3">
                  <c:v>2006</c:v>
                </c:pt>
                <c:pt idx="4">
                  <c:v>2008</c:v>
                </c:pt>
                <c:pt idx="5">
                  <c:v>2016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Global Network'!$D$4:$L$4</c:f>
              <c:numCache>
                <c:formatCode>#,##0</c:formatCode>
                <c:ptCount val="9"/>
                <c:pt idx="0" formatCode="General">
                  <c:v>-4000</c:v>
                </c:pt>
                <c:pt idx="1">
                  <c:v>2694</c:v>
                </c:pt>
                <c:pt idx="2">
                  <c:v>19478</c:v>
                </c:pt>
                <c:pt idx="3">
                  <c:v>31972</c:v>
                </c:pt>
                <c:pt idx="4">
                  <c:v>37435</c:v>
                </c:pt>
                <c:pt idx="5">
                  <c:v>67747</c:v>
                </c:pt>
                <c:pt idx="6">
                  <c:v>115932</c:v>
                </c:pt>
                <c:pt idx="7">
                  <c:v>182306</c:v>
                </c:pt>
                <c:pt idx="8">
                  <c:v>2356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E773-4BF2-AEAA-70A87D2A3DE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45189392"/>
        <c:axId val="345194488"/>
      </c:lineChart>
      <c:catAx>
        <c:axId val="3451893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45194488"/>
        <c:crosses val="autoZero"/>
        <c:auto val="1"/>
        <c:lblAlgn val="ctr"/>
        <c:lblOffset val="100"/>
        <c:noMultiLvlLbl val="0"/>
      </c:catAx>
      <c:valAx>
        <c:axId val="34519448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45189392"/>
        <c:crosses val="autoZero"/>
        <c:crossBetween val="between"/>
        <c:majorUnit val="5000"/>
      </c:val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</c:title>
    <c:autoTitleDeleted val="0"/>
    <c:plotArea>
      <c:layout>
        <c:manualLayout>
          <c:layoutTarget val="inner"/>
          <c:xMode val="edge"/>
          <c:yMode val="edge"/>
          <c:x val="0.23055555555555557"/>
          <c:y val="6.4814814814814811E-2"/>
          <c:w val="0.53055555555555556"/>
          <c:h val="0.8842592592592593"/>
        </c:manualLayout>
      </c:layout>
      <c:doughnutChart>
        <c:varyColors val="1"/>
        <c:ser>
          <c:idx val="0"/>
          <c:order val="0"/>
          <c:tx>
            <c:strRef>
              <c:f>Sheet1!$B$10</c:f>
              <c:strCache>
                <c:ptCount val="1"/>
                <c:pt idx="0">
                  <c:v>EBIT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rgbClr val="0431A6"/>
              </a:solidFill>
            </c:spPr>
            <c:extLst>
              <c:ext xmlns:c16="http://schemas.microsoft.com/office/drawing/2014/chart" uri="{C3380CC4-5D6E-409C-BE32-E72D297353CC}">
                <c16:uniqueId val="{00000001-A546-4710-A87B-450942FF472C}"/>
              </c:ext>
            </c:extLst>
          </c:dPt>
          <c:dPt>
            <c:idx val="1"/>
            <c:bubble3D val="0"/>
            <c:spPr>
              <a:solidFill>
                <a:srgbClr val="000000"/>
              </a:solidFill>
            </c:spPr>
            <c:extLst>
              <c:ext xmlns:c16="http://schemas.microsoft.com/office/drawing/2014/chart" uri="{C3380CC4-5D6E-409C-BE32-E72D297353CC}">
                <c16:uniqueId val="{00000003-A546-4710-A87B-450942FF472C}"/>
              </c:ext>
            </c:extLst>
          </c:dPt>
          <c:dPt>
            <c:idx val="2"/>
            <c:bubble3D val="0"/>
            <c:spPr>
              <a:solidFill>
                <a:srgbClr val="4B87E0"/>
              </a:solidFill>
            </c:spPr>
            <c:extLst>
              <c:ext xmlns:c16="http://schemas.microsoft.com/office/drawing/2014/chart" uri="{C3380CC4-5D6E-409C-BE32-E72D297353CC}">
                <c16:uniqueId val="{00000005-A546-4710-A87B-450942FF472C}"/>
              </c:ext>
            </c:extLst>
          </c:dPt>
          <c:dLbls>
            <c:dLbl>
              <c:idx val="2"/>
              <c:layout>
                <c:manualLayout>
                  <c:x val="-5.1541057110926112E-17"/>
                  <c:y val="-1.571025441705560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700" b="1">
                      <a:solidFill>
                        <a:srgbClr val="002060"/>
                      </a:solidFill>
                    </a:defRPr>
                  </a:pPr>
                  <a:endParaRPr lang="da-DK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546-4710-A87B-450942FF47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1"/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1:$B$13</c:f>
              <c:strCache>
                <c:ptCount val="3"/>
                <c:pt idx="0">
                  <c:v>Air &amp; Sea</c:v>
                </c:pt>
                <c:pt idx="1">
                  <c:v>Road</c:v>
                </c:pt>
                <c:pt idx="2">
                  <c:v>Solutions</c:v>
                </c:pt>
              </c:strCache>
            </c:strRef>
          </c:cat>
          <c:val>
            <c:numRef>
              <c:f>Sheet1!$G$11:$G$13</c:f>
              <c:numCache>
                <c:formatCode>#,##0</c:formatCode>
                <c:ptCount val="3"/>
                <c:pt idx="0">
                  <c:v>574</c:v>
                </c:pt>
                <c:pt idx="1">
                  <c:v>885</c:v>
                </c:pt>
                <c:pt idx="2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46-4710-A87B-450942FF4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>
          <a:solidFill>
            <a:schemeClr val="bg1"/>
          </a:solidFill>
        </a:defRPr>
      </a:pPr>
      <a:endParaRPr lang="da-D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55555555555557"/>
          <c:y val="6.4814814814814811E-2"/>
          <c:w val="0.53055555555555556"/>
          <c:h val="0.8842592592592593"/>
        </c:manualLayout>
      </c:layout>
      <c:doughnutChart>
        <c:varyColors val="1"/>
        <c:ser>
          <c:idx val="0"/>
          <c:order val="0"/>
          <c:tx>
            <c:strRef>
              <c:f>Sheet1!$B$16</c:f>
              <c:strCache>
                <c:ptCount val="1"/>
                <c:pt idx="0">
                  <c:v>EBIT %</c:v>
                </c:pt>
              </c:strCache>
            </c:strRef>
          </c:tx>
          <c:dPt>
            <c:idx val="0"/>
            <c:bubble3D val="0"/>
            <c:spPr>
              <a:solidFill>
                <a:srgbClr val="1990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512-4711-8BBF-3E3FBEB718FA}"/>
              </c:ext>
            </c:extLst>
          </c:dPt>
          <c:dPt>
            <c:idx val="1"/>
            <c:bubble3D val="0"/>
            <c:spPr>
              <a:solidFill>
                <a:srgbClr val="FFE68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512-4711-8BBF-3E3FBEB718FA}"/>
              </c:ext>
            </c:extLst>
          </c:dPt>
          <c:dPt>
            <c:idx val="2"/>
            <c:bubble3D val="0"/>
            <c:spPr>
              <a:solidFill>
                <a:srgbClr val="E1873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512-4711-8BBF-3E3FBEB718FA}"/>
              </c:ext>
            </c:extLst>
          </c:dPt>
          <c:cat>
            <c:strRef>
              <c:f>Sheet1!$B$17:$B$19</c:f>
              <c:strCache>
                <c:ptCount val="3"/>
                <c:pt idx="0">
                  <c:v>EMEA</c:v>
                </c:pt>
                <c:pt idx="1">
                  <c:v>Americas</c:v>
                </c:pt>
                <c:pt idx="2">
                  <c:v>APAC</c:v>
                </c:pt>
              </c:strCache>
            </c:strRef>
          </c:cat>
          <c:val>
            <c:numRef>
              <c:f>Sheet1!$G$17:$G$19</c:f>
              <c:numCache>
                <c:formatCode>0.00</c:formatCode>
                <c:ptCount val="3"/>
                <c:pt idx="0">
                  <c:v>0.78968253968253965</c:v>
                </c:pt>
                <c:pt idx="1">
                  <c:v>0.12</c:v>
                </c:pt>
                <c:pt idx="2" formatCode="General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512-4711-8BBF-3E3FBEB718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3055555555555557"/>
          <c:y val="6.4814814814814811E-2"/>
          <c:w val="0.53055555555555556"/>
          <c:h val="0.8842592592592593"/>
        </c:manualLayout>
      </c:layout>
      <c:doughnutChart>
        <c:varyColors val="1"/>
        <c:ser>
          <c:idx val="0"/>
          <c:order val="0"/>
          <c:spPr>
            <a:solidFill>
              <a:srgbClr val="000000"/>
            </a:solidFill>
          </c:spP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0-F09C-4F6C-B24F-45F062FDA68E}"/>
              </c:ext>
            </c:extLst>
          </c:dPt>
          <c:dLbls>
            <c:dLbl>
              <c:idx val="1"/>
              <c:layout>
                <c:manualLayout>
                  <c:x val="-9.5951670579027225E-3"/>
                  <c:y val="-0.3589805432910818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87130312190471"/>
                      <c:h val="0.151861477701850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F09C-4F6C-B24F-45F062FDA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 b="1">
                    <a:solidFill>
                      <a:schemeClr val="bg1"/>
                    </a:solidFill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D$11:$D$13</c:f>
              <c:numCache>
                <c:formatCode>#,##0</c:formatCode>
                <c:ptCount val="3"/>
                <c:pt idx="1">
                  <c:v>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9C-4F6C-B24F-45F062FDA6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055555555555557"/>
          <c:y val="6.4814814814814811E-2"/>
          <c:w val="0.53055555555555556"/>
          <c:h val="0.8842592592592593"/>
        </c:manualLayout>
      </c:layout>
      <c:doughnutChart>
        <c:varyColors val="1"/>
        <c:ser>
          <c:idx val="0"/>
          <c:order val="0"/>
          <c:tx>
            <c:strRef>
              <c:f>Sheet1!$B$16</c:f>
              <c:strCache>
                <c:ptCount val="1"/>
                <c:pt idx="0">
                  <c:v>EBIT %</c:v>
                </c:pt>
              </c:strCache>
            </c:strRef>
          </c:tx>
          <c:spPr>
            <a:solidFill>
              <a:srgbClr val="199049"/>
            </a:solidFill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9AA6-44EF-922A-648CC0A368F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9AA6-44EF-922A-648CC0A368FE}"/>
              </c:ext>
            </c:extLst>
          </c:dPt>
          <c:cat>
            <c:strRef>
              <c:f>Sheet1!$B$17:$B$19</c:f>
              <c:strCache>
                <c:ptCount val="3"/>
                <c:pt idx="0">
                  <c:v>EMEA</c:v>
                </c:pt>
                <c:pt idx="1">
                  <c:v>Americas</c:v>
                </c:pt>
                <c:pt idx="2">
                  <c:v>APAC</c:v>
                </c:pt>
              </c:strCache>
            </c:strRef>
          </c:cat>
          <c:val>
            <c:numRef>
              <c:f>Sheet1!$D$17:$D$19</c:f>
              <c:numCache>
                <c:formatCode>0.00</c:formatCode>
                <c:ptCount val="3"/>
                <c:pt idx="0">
                  <c:v>1</c:v>
                </c:pt>
                <c:pt idx="1">
                  <c:v>0</c:v>
                </c:pt>
                <c:pt idx="2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A6-44EF-922A-648CC0A368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055555555555557"/>
          <c:y val="6.4814814814814811E-2"/>
          <c:w val="0.53055555555555556"/>
          <c:h val="0.8842592592592593"/>
        </c:manualLayout>
      </c:layout>
      <c:doughnutChart>
        <c:varyColors val="1"/>
        <c:ser>
          <c:idx val="0"/>
          <c:order val="0"/>
          <c:tx>
            <c:strRef>
              <c:f>'Global Network'!$B$9</c:f>
              <c:strCache>
                <c:ptCount val="1"/>
                <c:pt idx="0">
                  <c:v>Division split</c:v>
                </c:pt>
              </c:strCache>
            </c:strRef>
          </c:tx>
          <c:dPt>
            <c:idx val="0"/>
            <c:bubble3D val="0"/>
            <c:spPr>
              <a:solidFill>
                <a:srgbClr val="0431A6"/>
              </a:solidFill>
            </c:spPr>
            <c:extLst>
              <c:ext xmlns:c16="http://schemas.microsoft.com/office/drawing/2014/chart" uri="{C3380CC4-5D6E-409C-BE32-E72D297353CC}">
                <c16:uniqueId val="{00000001-74D3-4A68-AFAE-6AAEC169B582}"/>
              </c:ext>
            </c:extLst>
          </c:dPt>
          <c:dPt>
            <c:idx val="1"/>
            <c:bubble3D val="0"/>
            <c:spPr>
              <a:solidFill>
                <a:srgbClr val="000000"/>
              </a:solidFill>
            </c:spPr>
            <c:extLst>
              <c:ext xmlns:c16="http://schemas.microsoft.com/office/drawing/2014/chart" uri="{C3380CC4-5D6E-409C-BE32-E72D297353CC}">
                <c16:uniqueId val="{00000003-74D3-4A68-AFAE-6AAEC169B582}"/>
              </c:ext>
            </c:extLst>
          </c:dPt>
          <c:dPt>
            <c:idx val="2"/>
            <c:bubble3D val="0"/>
            <c:spPr>
              <a:solidFill>
                <a:srgbClr val="4B87E0"/>
              </a:solidFill>
            </c:spPr>
            <c:extLst>
              <c:ext xmlns:c16="http://schemas.microsoft.com/office/drawing/2014/chart" uri="{C3380CC4-5D6E-409C-BE32-E72D297353CC}">
                <c16:uniqueId val="{00000005-74D3-4A68-AFAE-6AAEC169B582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D3-4A68-AFAE-6AAEC169B582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4D3-4A68-AFAE-6AAEC169B582}"/>
                </c:ext>
              </c:extLst>
            </c:dLbl>
            <c:dLbl>
              <c:idx val="2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700" b="1">
                      <a:solidFill>
                        <a:srgbClr val="002060"/>
                      </a:solidFill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4D3-4A68-AFAE-6AAEC169B58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1">
                    <a:solidFill>
                      <a:schemeClr val="bg1"/>
                    </a:solidFill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'Global Network'!$B$10:$B$12</c:f>
              <c:strCache>
                <c:ptCount val="3"/>
                <c:pt idx="0">
                  <c:v>Air &amp; Sea</c:v>
                </c:pt>
                <c:pt idx="1">
                  <c:v>Road</c:v>
                </c:pt>
                <c:pt idx="2">
                  <c:v>Solutions</c:v>
                </c:pt>
              </c:strCache>
            </c:strRef>
          </c:cat>
          <c:val>
            <c:numRef>
              <c:f>'Global Network'!$P$10:$P$12</c:f>
              <c:numCache>
                <c:formatCode>0%</c:formatCode>
                <c:ptCount val="3"/>
                <c:pt idx="0">
                  <c:v>0.8133391078388913</c:v>
                </c:pt>
                <c:pt idx="1">
                  <c:v>8.0318122760738617E-2</c:v>
                </c:pt>
                <c:pt idx="2">
                  <c:v>0.10634276940037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4D3-4A68-AFAE-6AAEC169B5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55555555555557"/>
          <c:y val="6.4814814814814811E-2"/>
          <c:w val="0.53055555555555556"/>
          <c:h val="0.8842592592592593"/>
        </c:manualLayout>
      </c:layout>
      <c:doughnutChart>
        <c:varyColors val="1"/>
        <c:ser>
          <c:idx val="0"/>
          <c:order val="0"/>
          <c:tx>
            <c:strRef>
              <c:f>'Global Network'!$B$16</c:f>
              <c:strCache>
                <c:ptCount val="1"/>
                <c:pt idx="0">
                  <c:v>Region split</c:v>
                </c:pt>
              </c:strCache>
            </c:strRef>
          </c:tx>
          <c:dPt>
            <c:idx val="0"/>
            <c:bubble3D val="0"/>
            <c:spPr>
              <a:solidFill>
                <a:srgbClr val="1990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91-4CAD-A57C-6D58E5E02BDF}"/>
              </c:ext>
            </c:extLst>
          </c:dPt>
          <c:dPt>
            <c:idx val="1"/>
            <c:bubble3D val="0"/>
            <c:spPr>
              <a:solidFill>
                <a:srgbClr val="E1873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91-4CAD-A57C-6D58E5E02BDF}"/>
              </c:ext>
            </c:extLst>
          </c:dPt>
          <c:dPt>
            <c:idx val="2"/>
            <c:bubble3D val="0"/>
            <c:spPr>
              <a:solidFill>
                <a:srgbClr val="FFE68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91-4CAD-A57C-6D58E5E02BDF}"/>
              </c:ext>
            </c:extLst>
          </c:dPt>
          <c:cat>
            <c:strRef>
              <c:f>'Global Network'!$B$17:$B$19</c:f>
              <c:strCache>
                <c:ptCount val="3"/>
                <c:pt idx="0">
                  <c:v>EMEA</c:v>
                </c:pt>
                <c:pt idx="1">
                  <c:v>Americas</c:v>
                </c:pt>
                <c:pt idx="2">
                  <c:v>APAC</c:v>
                </c:pt>
              </c:strCache>
            </c:strRef>
          </c:cat>
          <c:val>
            <c:numRef>
              <c:f>'Global Network'!$P$17:$P$19</c:f>
              <c:numCache>
                <c:formatCode>0%</c:formatCode>
                <c:ptCount val="3"/>
                <c:pt idx="0">
                  <c:v>0.44</c:v>
                </c:pt>
                <c:pt idx="1">
                  <c:v>0.28000000000000003</c:v>
                </c:pt>
                <c:pt idx="2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91-4CAD-A57C-6D58E5E02B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857122029267228"/>
          <c:y val="2.2841726618705035E-2"/>
          <c:w val="0.82142879166454108"/>
          <c:h val="0.94416466826538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Global top 20 FF'!$H$3</c:f>
              <c:strCache>
                <c:ptCount val="1"/>
                <c:pt idx="0">
                  <c:v>2022 revenue US billion</c:v>
                </c:pt>
              </c:strCache>
            </c:strRef>
          </c:tx>
          <c:spPr>
            <a:solidFill>
              <a:schemeClr val="tx1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54A7-4E71-A672-BDCA1474A7AE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05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4A7-4E71-A672-BDCA1474A7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lobal top 20 FF'!$B$4:$B$23</c:f>
              <c:strCache>
                <c:ptCount val="20"/>
                <c:pt idx="0">
                  <c:v>Kuehne + Nagel (CH)</c:v>
                </c:pt>
                <c:pt idx="1">
                  <c:v>DHL Logistics (DE)</c:v>
                </c:pt>
                <c:pt idx="2">
                  <c:v>DSV (DK)</c:v>
                </c:pt>
                <c:pt idx="3">
                  <c:v>DB Schenker (DE)</c:v>
                </c:pt>
                <c:pt idx="4">
                  <c:v>SF KEX (CN)</c:v>
                </c:pt>
                <c:pt idx="5">
                  <c:v>C.H. Robinson (US)</c:v>
                </c:pt>
                <c:pt idx="6">
                  <c:v>Nippon Express (JP)</c:v>
                </c:pt>
                <c:pt idx="7">
                  <c:v>CEVA Logistics (CH)</c:v>
                </c:pt>
                <c:pt idx="8">
                  <c:v>Expeditors (US)</c:v>
                </c:pt>
                <c:pt idx="9">
                  <c:v>Sinotrans (CN)</c:v>
                </c:pt>
                <c:pt idx="10">
                  <c:v>Maersk Logistics (DK)</c:v>
                </c:pt>
                <c:pt idx="11">
                  <c:v>UPS Supply Chain (US)</c:v>
                </c:pt>
                <c:pt idx="12">
                  <c:v>J.B. Hunt (US)</c:v>
                </c:pt>
                <c:pt idx="13">
                  <c:v>SNCF Geodis (FR)</c:v>
                </c:pt>
                <c:pt idx="14">
                  <c:v>GXO Logistics (US)</c:v>
                </c:pt>
                <c:pt idx="15">
                  <c:v>Dachser (DE)</c:v>
                </c:pt>
                <c:pt idx="16">
                  <c:v>TQL (US)</c:v>
                </c:pt>
                <c:pt idx="17">
                  <c:v>Kintetsu (JP)</c:v>
                </c:pt>
                <c:pt idx="18">
                  <c:v>LX Pantos (KR)</c:v>
                </c:pt>
                <c:pt idx="19">
                  <c:v>Bolloré (FR)</c:v>
                </c:pt>
              </c:strCache>
            </c:strRef>
          </c:cat>
          <c:val>
            <c:numRef>
              <c:f>'Global top 20 FF'!$H$4:$H$23</c:f>
              <c:numCache>
                <c:formatCode>0.0</c:formatCode>
                <c:ptCount val="20"/>
                <c:pt idx="0">
                  <c:v>46.863999999999997</c:v>
                </c:pt>
                <c:pt idx="1">
                  <c:v>45.59</c:v>
                </c:pt>
                <c:pt idx="2">
                  <c:v>34.883000000000003</c:v>
                </c:pt>
                <c:pt idx="3">
                  <c:v>30.391999999999999</c:v>
                </c:pt>
                <c:pt idx="4">
                  <c:v>25.74</c:v>
                </c:pt>
                <c:pt idx="5">
                  <c:v>23.873999999999999</c:v>
                </c:pt>
                <c:pt idx="6">
                  <c:v>19.931999999999999</c:v>
                </c:pt>
                <c:pt idx="7">
                  <c:v>18.7</c:v>
                </c:pt>
                <c:pt idx="8">
                  <c:v>17.071000000000002</c:v>
                </c:pt>
                <c:pt idx="9">
                  <c:v>16.405000000000001</c:v>
                </c:pt>
                <c:pt idx="10">
                  <c:v>14.423</c:v>
                </c:pt>
                <c:pt idx="11">
                  <c:v>14.294</c:v>
                </c:pt>
                <c:pt idx="12">
                  <c:v>13.766</c:v>
                </c:pt>
                <c:pt idx="13">
                  <c:v>12.624000000000001</c:v>
                </c:pt>
                <c:pt idx="14">
                  <c:v>8.9930000000000003</c:v>
                </c:pt>
                <c:pt idx="15">
                  <c:v>8.9179999999999993</c:v>
                </c:pt>
                <c:pt idx="16">
                  <c:v>8.8490000000000002</c:v>
                </c:pt>
                <c:pt idx="17">
                  <c:v>8.7100000000000009</c:v>
                </c:pt>
                <c:pt idx="18">
                  <c:v>8.2430000000000003</c:v>
                </c:pt>
                <c:pt idx="19">
                  <c:v>7.46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A7-4E71-A672-BDCA1474A7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overlap val="-61"/>
        <c:axId val="424927960"/>
        <c:axId val="424929136"/>
      </c:barChart>
      <c:catAx>
        <c:axId val="42492796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crossAx val="424929136"/>
        <c:crosses val="autoZero"/>
        <c:auto val="1"/>
        <c:lblAlgn val="ctr"/>
        <c:lblOffset val="100"/>
        <c:noMultiLvlLbl val="0"/>
      </c:catAx>
      <c:valAx>
        <c:axId val="424929136"/>
        <c:scaling>
          <c:orientation val="minMax"/>
        </c:scaling>
        <c:delete val="0"/>
        <c:axPos val="t"/>
        <c:numFmt formatCode="0.0" sourceLinked="1"/>
        <c:majorTickMark val="none"/>
        <c:minorTickMark val="none"/>
        <c:tickLblPos val="none"/>
        <c:spPr>
          <a:ln>
            <a:noFill/>
          </a:ln>
        </c:spPr>
        <c:crossAx val="424927960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da-DK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318</cdr:x>
      <cdr:y>0.50554</cdr:y>
    </cdr:from>
    <cdr:to>
      <cdr:x>0.25092</cdr:x>
      <cdr:y>0.54374</cdr:y>
    </cdr:to>
    <cdr:sp macro="" textlink="">
      <cdr:nvSpPr>
        <cdr:cNvPr id="23" name="TextBox 1"/>
        <cdr:cNvSpPr txBox="1"/>
      </cdr:nvSpPr>
      <cdr:spPr>
        <a:xfrm xmlns:a="http://schemas.openxmlformats.org/drawingml/2006/main">
          <a:off x="1581152" y="2898775"/>
          <a:ext cx="371474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sz="11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0318</cdr:x>
      <cdr:y>0.55371</cdr:y>
    </cdr:from>
    <cdr:to>
      <cdr:x>0.25092</cdr:x>
      <cdr:y>0.59192</cdr:y>
    </cdr:to>
    <cdr:sp macro="" textlink="">
      <cdr:nvSpPr>
        <cdr:cNvPr id="24" name="TextBox 1"/>
        <cdr:cNvSpPr txBox="1"/>
      </cdr:nvSpPr>
      <cdr:spPr>
        <a:xfrm xmlns:a="http://schemas.openxmlformats.org/drawingml/2006/main">
          <a:off x="1581152" y="3175000"/>
          <a:ext cx="371474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sz="11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0318</cdr:x>
      <cdr:y>0.64673</cdr:y>
    </cdr:from>
    <cdr:to>
      <cdr:x>0.25092</cdr:x>
      <cdr:y>0.68494</cdr:y>
    </cdr:to>
    <cdr:sp macro="" textlink="">
      <cdr:nvSpPr>
        <cdr:cNvPr id="26" name="TextBox 1"/>
        <cdr:cNvSpPr txBox="1"/>
      </cdr:nvSpPr>
      <cdr:spPr>
        <a:xfrm xmlns:a="http://schemas.openxmlformats.org/drawingml/2006/main">
          <a:off x="1581152" y="3708400"/>
          <a:ext cx="371474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sz="1100" b="1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da-DK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2" name="Google Shape;8442;g1042e732a65_0_345:notes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443" name="Google Shape;8443;g1042e732a65_0_3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g29d43c695c9_0_2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4" name="Google Shape;204;g29d43c695c9_0_2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05" name="Google Shape;205;g29d43c695c9_0_2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2" name="Google Shape;242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SPM Thomas: ”Hvordan spiller AI ind i jeres sikkerhedsarbejde”?</a:t>
            </a:r>
            <a:endParaRPr dirty="0"/>
          </a:p>
        </p:txBody>
      </p:sp>
      <p:sp>
        <p:nvSpPr>
          <p:cNvPr id="243" name="Google Shape;243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" name="Google Shape;75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58" name="Google Shape;75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759" name="Google Shape;759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g29d43c695c9_0_1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8" name="Google Shape;278;g29d43c695c9_0_1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SPM Thomas: ”Hvordan forholder DSV sig til NIS2?”</a:t>
            </a:r>
            <a:endParaRPr dirty="0"/>
          </a:p>
        </p:txBody>
      </p:sp>
      <p:sp>
        <p:nvSpPr>
          <p:cNvPr id="279" name="Google Shape;279;g29d43c695c9_0_13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g29d43c695c9_0_1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2" name="Google Shape;292;g29d43c695c9_0_15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SPM Thomas: ”Kan du genkende nogle af disse udfordringer fra jeres arbejde”?</a:t>
            </a:r>
            <a:endParaRPr dirty="0"/>
          </a:p>
        </p:txBody>
      </p:sp>
      <p:sp>
        <p:nvSpPr>
          <p:cNvPr id="293" name="Google Shape;293;g29d43c695c9_0_15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g29d43c695c9_0_1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9" name="Google Shape;319;g29d43c695c9_0_1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20" name="Google Shape;320;g29d43c695c9_0_17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7" name="Google Shape;337;p2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SPM Thomas: ”Oplever I også at det er svært at rekruttere?”</a:t>
            </a:r>
            <a:endParaRPr dirty="0"/>
          </a:p>
        </p:txBody>
      </p:sp>
      <p:sp>
        <p:nvSpPr>
          <p:cNvPr id="338" name="Google Shape;338;p2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56" name="Google Shape;356;p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SPM Thomas: ”Kan du sætte ord på, hvordan I interagerer med bestyrelsen på </a:t>
            </a:r>
            <a:r>
              <a:rPr lang="da-DK" dirty="0" err="1"/>
              <a:t>cybersikkerhedsområdet</a:t>
            </a:r>
            <a:r>
              <a:rPr lang="da-DK" dirty="0"/>
              <a:t>?”</a:t>
            </a:r>
            <a:endParaRPr dirty="0"/>
          </a:p>
        </p:txBody>
      </p:sp>
      <p:sp>
        <p:nvSpPr>
          <p:cNvPr id="357" name="Google Shape;357;p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9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g2a1b6206481_0_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7" name="Google Shape;407;g2a1b6206481_0_9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08" name="Google Shape;408;g2a1b6206481_0_9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" name="Google Shape;45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Her giver jeg ordet til Thomas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Introduktion til Thomas, DSV og sikkerhedsfunktion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Indsæt gerne DSV slides efter denne.</a:t>
            </a:r>
            <a:endParaRPr dirty="0"/>
          </a:p>
        </p:txBody>
      </p:sp>
      <p:sp>
        <p:nvSpPr>
          <p:cNvPr id="46" name="Google Shape;46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708025"/>
            <a:ext cx="6289675" cy="35385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142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1769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" name="Google Shape;3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" name="Google Shape;3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g29fd7e1232e_0_1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7" name="Google Shape;77;g29fd7e1232e_0_19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8" name="Google Shape;78;g29fd7e1232e_0_19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g29d43c695c9_0_38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6" name="Google Shape;136;g29d43c695c9_0_38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da-DK" dirty="0"/>
              <a:t>SPM Thomas: ”Kan du mærket et forhøjet fokus på sikkerhed i DSV?”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37" name="Google Shape;137;g29d43c695c9_0_38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g29d43c695c9_0_3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1" name="Google Shape;171;g29d43c695c9_0_3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2" name="Google Shape;172;g29d43c695c9_0_35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g29d43c695c9_0_3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6" name="Google Shape;186;g29d43c695c9_0_3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da-DK" dirty="0"/>
              <a:t>SPM Thomas: ”Er dette nogle prioriteringer, som du kan genkende fra DSV?”</a:t>
            </a:r>
            <a:endParaRPr dirty="0"/>
          </a:p>
        </p:txBody>
      </p:sp>
      <p:sp>
        <p:nvSpPr>
          <p:cNvPr id="187" name="Google Shape;187;g29d43c695c9_0_3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da-DK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7586-FF63-56CE-F0EB-06C7B675C9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da-DK" smtClean="0"/>
            </a:lvl1pPr>
          </a:lstStyle>
          <a:p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B0B526-3365-E100-4CA3-2004A5B75C6E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da-DK"/>
            </a:lvl1pPr>
          </a:lstStyle>
          <a:p>
            <a:r>
              <a:rPr lang="da-DK"/>
              <a:t>Cyber Agenda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5CBED1-DB27-E92C-9F78-B6AEF1800D2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da-DK" smtClean="0"/>
            </a:lvl1pPr>
          </a:lstStyle>
          <a:p>
            <a:fld id="{7078A906-2D08-41E1-AB60-65B14A75BB60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B209EDC0-8626-4C9E-8C9B-D78BAE74C8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31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015999" y="1143000"/>
            <a:ext cx="7112001" cy="40005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6000" spc="-300" baseline="0"/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553E7A06-E9BE-B92A-AF3C-7AB03727E2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00" y="6090767"/>
            <a:ext cx="661414" cy="195733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722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B209EDC0-8626-4C9E-8C9B-D78BAE74C8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87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5999" y="1143000"/>
            <a:ext cx="7112001" cy="40005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6000" spc="-3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AC6FF088-8F53-D367-9F6D-5DB2E96BB1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00" y="6090767"/>
            <a:ext cx="661414" cy="195733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219545"/>
      </p:ext>
    </p:extLst>
  </p:cSld>
  <p:clrMapOvr>
    <a:masterClrMapping/>
  </p:clrMapOvr>
  <p:transition spd="slow">
    <p:push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A125EFE3-97FF-4C6E-9A67-2A9531017A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CD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15999" y="1143000"/>
            <a:ext cx="7112001" cy="40005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6000" spc="-300" baseline="0"/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210D1E87-E4AD-C58B-DB51-B831BAC9D0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>
          <a:xfrm>
            <a:off x="1016000" y="6090767"/>
            <a:ext cx="661414" cy="195733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775721"/>
      </p:ext>
    </p:extLst>
  </p:cSld>
  <p:clrMapOvr>
    <a:masterClrMapping/>
  </p:clrMapOvr>
  <p:transition spd="slow">
    <p:push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. Photo right side.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A125EFE3-97FF-4C6E-9A67-2A9531017A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015999" y="1143000"/>
            <a:ext cx="4064001" cy="457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6000" spc="-30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41652E79-A256-6435-22B5-189A7EE09C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8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287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. Photo left side.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A125EFE3-97FF-4C6E-9A67-2A9531017A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112000" y="1143000"/>
            <a:ext cx="4064001" cy="457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6000" spc="-30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41652E79-A256-6435-22B5-189A7EE09C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982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Phot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89571D55-61C8-1072-5592-ED5E71F0E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16000" y="1143000"/>
            <a:ext cx="10160001" cy="5714999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DF73BF-CE58-1841-4EF3-51F5AFC5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0" y="0"/>
            <a:ext cx="7112000" cy="1143001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2400" spc="-120" baseline="0"/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887DE7B-80B9-0272-865D-89D3DD81B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>
          <a:xfrm>
            <a:off x="1016000" y="473634"/>
            <a:ext cx="661414" cy="195733"/>
          </a:xfrm>
          <a:prstGeom prst="rect">
            <a:avLst/>
          </a:prstGeom>
        </p:spPr>
      </p:pic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615A88E0-4E4A-519D-9700-7D5CA52F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>
            <a:extLst>
              <a:ext uri="{FF2B5EF4-FFF2-40B4-BE49-F238E27FC236}">
                <a16:creationId xmlns:a16="http://schemas.microsoft.com/office/drawing/2014/main" id="{F2468DD4-BE4F-9ACC-7037-B7B58F387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F0286516-5F7F-CE86-B65D-766BC770D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280161"/>
      </p:ext>
    </p:extLst>
  </p:cSld>
  <p:clrMapOvr>
    <a:masterClrMapping/>
  </p:clrMapOvr>
  <p:transition spd="slow">
    <p:push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Phot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F73BF-CE58-1841-4EF3-51F5AFC5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0" y="5714999"/>
            <a:ext cx="7112000" cy="1143001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2400" spc="-12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FB94A73F-473D-8EE9-886D-D0230F6DF5A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16000" y="0"/>
            <a:ext cx="10160001" cy="5714999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A933D2A-3926-BE08-658A-38ACA7D8B0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>
          <a:xfrm>
            <a:off x="1016000" y="6188633"/>
            <a:ext cx="661414" cy="195733"/>
          </a:xfrm>
          <a:prstGeom prst="rect">
            <a:avLst/>
          </a:prstGeom>
        </p:spPr>
      </p:pic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BC7DA32B-9DA6-837C-A252-B237166ABF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7" name="FLD_PresentationTitle" hidden="1">
            <a:extLst>
              <a:ext uri="{FF2B5EF4-FFF2-40B4-BE49-F238E27FC236}">
                <a16:creationId xmlns:a16="http://schemas.microsoft.com/office/drawing/2014/main" id="{F157FDFF-ED79-E7B5-E586-44FD83BCD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56B00B80-C8F3-9B75-F1D9-191A496D4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602295"/>
      </p:ext>
    </p:extLst>
  </p:cSld>
  <p:clrMapOvr>
    <a:masterClrMapping/>
  </p:clrMapOvr>
  <p:transition spd="slow">
    <p:push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Video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F73BF-CE58-1841-4EF3-51F5AFC5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0" y="0"/>
            <a:ext cx="7112000" cy="1143001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2400" spc="-12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5B7007E8-F47C-6725-920A-9C68241BB2EC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1016000" y="1143001"/>
            <a:ext cx="10160000" cy="5714999"/>
          </a:xfrm>
          <a:solidFill>
            <a:srgbClr val="D7D9DC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7887DE7B-80B9-0272-865D-89D3DD81B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>
          <a:xfrm>
            <a:off x="1016000" y="473634"/>
            <a:ext cx="661414" cy="195733"/>
          </a:xfrm>
          <a:prstGeom prst="rect">
            <a:avLst/>
          </a:prstGeom>
        </p:spPr>
      </p:pic>
      <p:sp>
        <p:nvSpPr>
          <p:cNvPr id="10" name="Date_DateCustomA" hidden="1">
            <a:extLst>
              <a:ext uri="{FF2B5EF4-FFF2-40B4-BE49-F238E27FC236}">
                <a16:creationId xmlns:a16="http://schemas.microsoft.com/office/drawing/2014/main" id="{C93401DF-3442-EF28-EF87-4ADB68B22A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1" name="FLD_PresentationTitle" hidden="1">
            <a:extLst>
              <a:ext uri="{FF2B5EF4-FFF2-40B4-BE49-F238E27FC236}">
                <a16:creationId xmlns:a16="http://schemas.microsoft.com/office/drawing/2014/main" id="{A3BB0EBC-BA87-021D-10AB-98DE0933FAB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52278516-4C84-CBAB-C31C-851D3CCD516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200770"/>
      </p:ext>
    </p:extLst>
  </p:cSld>
  <p:clrMapOvr>
    <a:masterClrMapping/>
  </p:clrMapOvr>
  <p:transition spd="slow">
    <p:push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Vide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F73BF-CE58-1841-4EF3-51F5AFC57E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4000" y="5714999"/>
            <a:ext cx="7112000" cy="1143001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2400" spc="-12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5B7007E8-F47C-6725-920A-9C68241BB2EC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1016000" y="0"/>
            <a:ext cx="10160000" cy="5714999"/>
          </a:xfrm>
          <a:solidFill>
            <a:srgbClr val="D7D9DC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FA933D2A-3926-BE08-658A-38ACA7D8B0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>
          <a:xfrm>
            <a:off x="1016000" y="6188633"/>
            <a:ext cx="661414" cy="195733"/>
          </a:xfrm>
          <a:prstGeom prst="rect">
            <a:avLst/>
          </a:prstGeom>
        </p:spPr>
      </p:pic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2647149E-3225-6E07-A2C3-29F4AAF3BB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>
            <a:extLst>
              <a:ext uri="{FF2B5EF4-FFF2-40B4-BE49-F238E27FC236}">
                <a16:creationId xmlns:a16="http://schemas.microsoft.com/office/drawing/2014/main" id="{1B9EBF59-CDCB-7A93-2A08-D4DD7E7D68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8" name="Slide Number Placeholder 5" hidden="1">
            <a:extLst>
              <a:ext uri="{FF2B5EF4-FFF2-40B4-BE49-F238E27FC236}">
                <a16:creationId xmlns:a16="http://schemas.microsoft.com/office/drawing/2014/main" id="{6C075FC0-1496-772E-E48D-8E743FC362A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612227"/>
      </p:ext>
    </p:extLst>
  </p:cSld>
  <p:clrMapOvr>
    <a:masterClrMapping/>
  </p:clrMapOvr>
  <p:transition spd="slow">
    <p:push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. Four pictures.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A125EFE3-97FF-4C6E-9A67-2A9531017A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015999" y="1143000"/>
            <a:ext cx="4064001" cy="28575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800" spc="-30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1B76FEC-FA37-5397-4146-517D33B039B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white">
          <a:xfrm>
            <a:off x="1015999" y="4000499"/>
            <a:ext cx="4064001" cy="1714501"/>
          </a:xfrm>
        </p:spPr>
        <p:txBody>
          <a:bodyPr anchor="b" anchorCtr="0"/>
          <a:lstStyle>
            <a:lvl1pPr marL="180000" indent="-180000">
              <a:spcBef>
                <a:spcPts val="1000"/>
              </a:spcBef>
              <a:defRPr sz="1400"/>
            </a:lvl1pPr>
            <a:lvl2pPr marL="360000" indent="-180000"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9pPr>
              <a:defRPr sz="60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41652E79-A256-6435-22B5-189A7EE09C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-3"/>
            <a:ext cx="3048002" cy="3429003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160ED267-CE2A-9C6E-2A58-D17EC49FD3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000" y="-6"/>
            <a:ext cx="3048002" cy="3429003"/>
          </a:xfrm>
          <a:solidFill>
            <a:srgbClr val="AAB0BA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7917D4E6-EBD9-387E-C598-F1E497609D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8" y="3429000"/>
            <a:ext cx="3048002" cy="3429003"/>
          </a:xfrm>
          <a:solidFill>
            <a:srgbClr val="AAB0BA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86AA52A1-0E52-62B5-82F1-715000227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4000" y="3429000"/>
            <a:ext cx="3048002" cy="3429003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7E9A8FD-18CF-3BCF-7734-E0DE693EE83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white"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436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Georgia"/>
              <a:buNone/>
              <a:defRPr sz="45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1pPr>
            <a:lvl2pPr lvl="1" algn="ctr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AC489B-64F1-D213-81C9-7964BEC8B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da-DK" smtClean="0"/>
            </a:lvl1pPr>
          </a:lstStyle>
          <a:p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9157FE-7709-A27D-CB88-4E13AF5615A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da-DK"/>
            </a:lvl1pPr>
          </a:lstStyle>
          <a:p>
            <a:r>
              <a:rPr lang="da-DK"/>
              <a:t>Cyber Agenda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EB6201-E467-357D-46E9-405D82DA7AD0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da-DK" smtClean="0"/>
            </a:lvl1pPr>
          </a:lstStyle>
          <a:p>
            <a:fld id="{3A259B9E-3046-492A-827B-6EB02E8C5BD3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. A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38DDF0E9-4CE9-B343-4872-62126B84DC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12192000" cy="6858001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108336-28BF-0B78-1382-C16BC3329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571501"/>
            <a:ext cx="5080000" cy="5714999"/>
          </a:xfrm>
          <a:solidFill>
            <a:srgbClr val="EFF0F0"/>
          </a:solidFill>
        </p:spPr>
        <p:txBody>
          <a:bodyPr lIns="1015200" tIns="572400" rIns="1015200" bIns="3960000"/>
          <a:lstStyle>
            <a:lvl1pPr>
              <a:lnSpc>
                <a:spcPct val="100000"/>
              </a:lnSpc>
              <a:defRPr sz="2800" spc="-13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F2F699A-9A0E-FC32-6C65-D24A5577A7A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112001" y="2286000"/>
            <a:ext cx="3048000" cy="3429000"/>
          </a:xfrm>
        </p:spPr>
        <p:txBody>
          <a:bodyPr anchor="t" anchorCtr="0"/>
          <a:lstStyle>
            <a:lvl1pPr marL="180000" indent="-180000">
              <a:spcBef>
                <a:spcPts val="1000"/>
              </a:spcBef>
              <a:defRPr sz="1400"/>
            </a:lvl1pPr>
            <a:lvl2pPr marL="360000" indent="-180000">
              <a:spcBef>
                <a:spcPts val="1000"/>
              </a:spcBef>
              <a:defRPr sz="1400"/>
            </a:lvl2pPr>
            <a:lvl3pPr marL="540000" indent="-180000">
              <a:defRPr sz="1400"/>
            </a:lvl3pPr>
            <a:lvl4pPr>
              <a:defRPr sz="1400"/>
            </a:lvl4pPr>
            <a:lvl5pPr>
              <a:defRPr sz="1400"/>
            </a:lvl5pPr>
            <a:lvl9pPr>
              <a:defRPr sz="60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7B4789-6EF5-CE03-F897-F331E46C22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_DateCustomA" hidden="1">
            <a:extLst>
              <a:ext uri="{FF2B5EF4-FFF2-40B4-BE49-F238E27FC236}">
                <a16:creationId xmlns:a16="http://schemas.microsoft.com/office/drawing/2014/main" id="{F8F6FA0E-135D-B279-FA33-FE27ACB56FD4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6" name="FLD_PresentationTitle" hidden="1">
            <a:extLst>
              <a:ext uri="{FF2B5EF4-FFF2-40B4-BE49-F238E27FC236}">
                <a16:creationId xmlns:a16="http://schemas.microsoft.com/office/drawing/2014/main" id="{B44FDAFB-C5C0-A39A-436F-064D0BCF4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882355693"/>
      </p:ext>
    </p:extLst>
  </p:cSld>
  <p:clrMapOvr>
    <a:masterClrMapping/>
  </p:clrMapOvr>
  <p:transition spd="slow">
    <p:push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. B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38DDF0E9-4CE9-B343-4872-62126B84DC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12192000" cy="6858001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108336-28BF-0B78-1382-C16BC3329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000" y="571501"/>
            <a:ext cx="5080000" cy="5714999"/>
          </a:xfrm>
          <a:solidFill>
            <a:srgbClr val="EFF0F0"/>
          </a:solidFill>
        </p:spPr>
        <p:txBody>
          <a:bodyPr lIns="1015200" tIns="572400" rIns="1015200" bIns="3960000"/>
          <a:lstStyle>
            <a:lvl1pPr>
              <a:lnSpc>
                <a:spcPct val="100000"/>
              </a:lnSpc>
              <a:defRPr sz="2800" spc="-130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F2F699A-9A0E-FC32-6C65-D24A5577A7A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032000" y="2286000"/>
            <a:ext cx="3048001" cy="3429000"/>
          </a:xfrm>
        </p:spPr>
        <p:txBody>
          <a:bodyPr anchor="t" anchorCtr="0"/>
          <a:lstStyle>
            <a:lvl1pPr marL="180000" indent="-180000">
              <a:spcBef>
                <a:spcPts val="1000"/>
              </a:spcBef>
              <a:defRPr sz="1400"/>
            </a:lvl1pPr>
            <a:lvl2pPr marL="360000" indent="-180000">
              <a:spcBef>
                <a:spcPts val="1000"/>
              </a:spcBef>
              <a:defRPr sz="1400"/>
            </a:lvl2pPr>
            <a:lvl3pPr marL="540000" indent="-180000">
              <a:spcBef>
                <a:spcPts val="1000"/>
              </a:spcBef>
              <a:defRPr sz="1400"/>
            </a:lvl3pPr>
            <a:lvl4pPr>
              <a:defRPr sz="1400"/>
            </a:lvl4pPr>
            <a:lvl5pPr>
              <a:defRPr sz="1400"/>
            </a:lvl5pPr>
            <a:lvl9pPr>
              <a:defRPr sz="60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7B4789-6EF5-CE03-F897-F331E46C22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3F76FFE6-0EF7-1458-6DBC-A308223D23FD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8" name="FLD_PresentationTitle" hidden="1">
            <a:extLst>
              <a:ext uri="{FF2B5EF4-FFF2-40B4-BE49-F238E27FC236}">
                <a16:creationId xmlns:a16="http://schemas.microsoft.com/office/drawing/2014/main" id="{ADBC57DC-1F97-14E1-7119-084B290A0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835795559"/>
      </p:ext>
    </p:extLst>
  </p:cSld>
  <p:clrMapOvr>
    <a:masterClrMapping/>
  </p:clrMapOvr>
  <p:transition spd="slow">
    <p:push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CE736B98-1340-62EF-59F8-D7D6451499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16000" y="1143001"/>
            <a:ext cx="7112000" cy="1714500"/>
          </a:xfrm>
        </p:spPr>
        <p:txBody>
          <a:bodyPr/>
          <a:lstStyle>
            <a:lvl1pPr>
              <a:defRPr sz="2800" spc="-300" baseline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1016000" y="2857500"/>
            <a:ext cx="7112000" cy="28575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white"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_DateCustomA" hidden="1">
            <a:extLst>
              <a:ext uri="{FF2B5EF4-FFF2-40B4-BE49-F238E27FC236}">
                <a16:creationId xmlns:a16="http://schemas.microsoft.com/office/drawing/2014/main" id="{9B76FB2B-7B27-25A8-D5DA-A1D0299217C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2" name="FLD_PresentationTitle" hidden="1">
            <a:extLst>
              <a:ext uri="{FF2B5EF4-FFF2-40B4-BE49-F238E27FC236}">
                <a16:creationId xmlns:a16="http://schemas.microsoft.com/office/drawing/2014/main" id="{7122A9DB-AE31-0883-5DF7-D7EC3B6283C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948491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16000" y="1143001"/>
            <a:ext cx="7112000" cy="1714500"/>
          </a:xfrm>
        </p:spPr>
        <p:txBody>
          <a:bodyPr/>
          <a:lstStyle>
            <a:lvl1pPr>
              <a:defRPr sz="2800" spc="-300" baseline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6000" y="2857500"/>
            <a:ext cx="7112000" cy="28575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4F2AB8-50D1-E796-8A43-7D155B9B0E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5CF89A6E-A60B-2C8B-57F5-0EFF32F35FB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7" name="FLD_PresentationTitle" hidden="1">
            <a:extLst>
              <a:ext uri="{FF2B5EF4-FFF2-40B4-BE49-F238E27FC236}">
                <a16:creationId xmlns:a16="http://schemas.microsoft.com/office/drawing/2014/main" id="{F072395F-8149-8E1A-0376-145F44D7202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51824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">
    <p:bg>
      <p:bgPr>
        <a:solidFill>
          <a:srgbClr val="2F31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0D628073-55BA-B140-2CA5-8C8B182FC7A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F3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16000" y="571500"/>
            <a:ext cx="10160000" cy="571500"/>
          </a:xfrm>
        </p:spPr>
        <p:txBody>
          <a:bodyPr/>
          <a:lstStyle>
            <a:lvl1pPr>
              <a:defRPr sz="2800" spc="-150" baseline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1016000" y="1714500"/>
            <a:ext cx="7112000" cy="40005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4F2AB8-50D1-E796-8A43-7D155B9B0E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white"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E928560C-DC49-6629-0665-93FBC7B974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7" name="FLD_PresentationTitle" hidden="1">
            <a:extLst>
              <a:ext uri="{FF2B5EF4-FFF2-40B4-BE49-F238E27FC236}">
                <a16:creationId xmlns:a16="http://schemas.microsoft.com/office/drawing/2014/main" id="{0F42B128-E614-B433-B4F5-E8A753D6125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8814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CE736B98-1340-62EF-59F8-D7D6451499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16000" y="571501"/>
            <a:ext cx="10160000" cy="571500"/>
          </a:xfrm>
        </p:spPr>
        <p:txBody>
          <a:bodyPr/>
          <a:lstStyle>
            <a:lvl1pPr>
              <a:defRPr sz="2800" spc="-150" baseline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1016000" y="1714500"/>
            <a:ext cx="10160000" cy="4000500"/>
          </a:xfrm>
        </p:spPr>
        <p:txBody>
          <a:bodyPr numCol="3" spcCol="10152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white"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_DateCustomA" hidden="1">
            <a:extLst>
              <a:ext uri="{FF2B5EF4-FFF2-40B4-BE49-F238E27FC236}">
                <a16:creationId xmlns:a16="http://schemas.microsoft.com/office/drawing/2014/main" id="{BE6232D6-50CD-B698-14DF-4F5A2739577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9" name="FLD_PresentationTitle" hidden="1">
            <a:extLst>
              <a:ext uri="{FF2B5EF4-FFF2-40B4-BE49-F238E27FC236}">
                <a16:creationId xmlns:a16="http://schemas.microsoft.com/office/drawing/2014/main" id="{BDF4765D-9202-4F81-D4C8-B11E46E8B40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803883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15999" y="571501"/>
            <a:ext cx="10159999" cy="571499"/>
          </a:xfrm>
        </p:spPr>
        <p:txBody>
          <a:bodyPr/>
          <a:lstStyle>
            <a:lvl1pPr>
              <a:defRPr sz="2800" spc="-150" baseline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6000" y="1714500"/>
            <a:ext cx="10160000" cy="4000500"/>
          </a:xfrm>
        </p:spPr>
        <p:txBody>
          <a:bodyPr numCol="3" spcCol="10152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192C0DFA-1CB1-427A-8E9E-750569DCB65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6" name="FLD_PresentationTitle" hidden="1">
            <a:extLst>
              <a:ext uri="{FF2B5EF4-FFF2-40B4-BE49-F238E27FC236}">
                <a16:creationId xmlns:a16="http://schemas.microsoft.com/office/drawing/2014/main" id="{43C32F2A-B66D-B6D5-BC1E-EBF830022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6579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CE736B98-1340-62EF-59F8-D7D64514997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16000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2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3DCF2622-D659-48E0-7315-C7387BD4C49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6" name="FLD_PresentationTitle" hidden="1">
            <a:extLst>
              <a:ext uri="{FF2B5EF4-FFF2-40B4-BE49-F238E27FC236}">
                <a16:creationId xmlns:a16="http://schemas.microsoft.com/office/drawing/2014/main" id="{2258D535-C25E-08A6-2C26-FBE0A94A38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988225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96845445-64FE-646E-98FA-6757F8E5FE6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BCD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CE736B98-1340-62EF-59F8-D7D64514997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16000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2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4B00D8CC-C5D8-4502-052E-A77492C533C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8" name="FLD_PresentationTitle" hidden="1">
            <a:extLst>
              <a:ext uri="{FF2B5EF4-FFF2-40B4-BE49-F238E27FC236}">
                <a16:creationId xmlns:a16="http://schemas.microsoft.com/office/drawing/2014/main" id="{AEDE9E90-437C-62DF-5155-E6923CF6DD0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529225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96845445-64FE-646E-98FA-6757F8E5FE6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F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16000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2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A5A34D3A-887D-D1FA-6E48-9D6579F604F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8" name="FLD_PresentationTitle" hidden="1">
            <a:extLst>
              <a:ext uri="{FF2B5EF4-FFF2-40B4-BE49-F238E27FC236}">
                <a16:creationId xmlns:a16="http://schemas.microsoft.com/office/drawing/2014/main" id="{27F490B2-DC8E-2315-231D-0E2CB869A8D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463993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39"/>
          <p:cNvSpPr txBox="1">
            <a:spLocks noGrp="1"/>
          </p:cNvSpPr>
          <p:nvPr>
            <p:ph type="title"/>
          </p:nvPr>
        </p:nvSpPr>
        <p:spPr>
          <a:xfrm>
            <a:off x="442914" y="432002"/>
            <a:ext cx="11306175" cy="138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39"/>
          <p:cNvSpPr txBox="1">
            <a:spLocks noGrp="1"/>
          </p:cNvSpPr>
          <p:nvPr>
            <p:ph type="body" idx="1"/>
          </p:nvPr>
        </p:nvSpPr>
        <p:spPr>
          <a:xfrm>
            <a:off x="442914" y="2103438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" name="Google Shape;25;p39"/>
          <p:cNvSpPr txBox="1">
            <a:spLocks noGrp="1"/>
          </p:cNvSpPr>
          <p:nvPr>
            <p:ph type="body" idx="2"/>
          </p:nvPr>
        </p:nvSpPr>
        <p:spPr>
          <a:xfrm>
            <a:off x="4332289" y="2103438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39"/>
          <p:cNvSpPr txBox="1">
            <a:spLocks noGrp="1"/>
          </p:cNvSpPr>
          <p:nvPr>
            <p:ph type="body" idx="3"/>
          </p:nvPr>
        </p:nvSpPr>
        <p:spPr>
          <a:xfrm>
            <a:off x="8220077" y="2103438"/>
            <a:ext cx="3529012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048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E1C8CAA-D594-D181-2D36-194CC4CCAE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da-DK" smtClean="0"/>
            </a:lvl1pPr>
          </a:lstStyle>
          <a:p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CBFA6B-9226-3661-817C-9CFF62C31239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da-DK"/>
            </a:lvl1pPr>
          </a:lstStyle>
          <a:p>
            <a:r>
              <a:rPr lang="da-DK"/>
              <a:t>Cyber Agenda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F3468F-683F-E4E9-7ADE-EF0FBD3FB53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da-DK" smtClean="0"/>
            </a:lvl1pPr>
          </a:lstStyle>
          <a:p>
            <a:fld id="{827A1E7C-A297-4076-ACA3-BFC14AC378A8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16000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2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6AA9DA8B-CBA2-1A7A-7B50-DDA2EEA025D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8" name="FLD_PresentationTitle" hidden="1">
            <a:extLst>
              <a:ext uri="{FF2B5EF4-FFF2-40B4-BE49-F238E27FC236}">
                <a16:creationId xmlns:a16="http://schemas.microsoft.com/office/drawing/2014/main" id="{38CE46C6-A82E-9E68-3EA1-4DD1A52444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501423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12001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6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65D7F899-F1AD-FDE9-96BB-9CFC92DAFE1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6" name="FLD_PresentationTitle" hidden="1">
            <a:extLst>
              <a:ext uri="{FF2B5EF4-FFF2-40B4-BE49-F238E27FC236}">
                <a16:creationId xmlns:a16="http://schemas.microsoft.com/office/drawing/2014/main" id="{BFB7D583-2F21-0EB2-FA04-5FD05A27C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236444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F">
    <p:bg>
      <p:bgPr>
        <a:solidFill>
          <a:srgbClr val="0026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9769E97D-0F98-CA2D-94CB-04249AB152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12001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1016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5AE5164C-C20B-8076-6BB7-2C2A39507D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8" name="FLD_PresentationTitle" hidden="1">
            <a:extLst>
              <a:ext uri="{FF2B5EF4-FFF2-40B4-BE49-F238E27FC236}">
                <a16:creationId xmlns:a16="http://schemas.microsoft.com/office/drawing/2014/main" id="{6C2CA471-A2FD-03B2-DE2D-2C5CF5B50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478101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split G">
    <p:bg>
      <p:bgPr>
        <a:solidFill>
          <a:srgbClr val="2F31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9769E97D-0F98-CA2D-94CB-04249AB152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12001" y="1143001"/>
            <a:ext cx="4064000" cy="4571999"/>
          </a:xfrm>
        </p:spPr>
        <p:txBody>
          <a:bodyPr/>
          <a:lstStyle>
            <a:lvl1pPr>
              <a:defRPr sz="2800" spc="-18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1016000" y="1143001"/>
            <a:ext cx="4064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663ED12B-D4FE-23D3-22A8-EE584DBE806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8" name="FLD_PresentationTitle" hidden="1">
            <a:extLst>
              <a:ext uri="{FF2B5EF4-FFF2-40B4-BE49-F238E27FC236}">
                <a16:creationId xmlns:a16="http://schemas.microsoft.com/office/drawing/2014/main" id="{84F7E3A9-7C1E-AB7B-38AC-734299019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215703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. Two columns.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-3"/>
            <a:ext cx="6096001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16001" y="571500"/>
            <a:ext cx="4064000" cy="876298"/>
          </a:xfrm>
        </p:spPr>
        <p:txBody>
          <a:bodyPr/>
          <a:lstStyle>
            <a:lvl1pPr>
              <a:defRPr sz="2800" spc="-18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6000" y="2286000"/>
            <a:ext cx="1879600" cy="3429000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91CB7469-3391-9372-6F59-350B413CD38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00401" y="2285999"/>
            <a:ext cx="1879600" cy="3429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_DateCustomA" hidden="1">
            <a:extLst>
              <a:ext uri="{FF2B5EF4-FFF2-40B4-BE49-F238E27FC236}">
                <a16:creationId xmlns:a16="http://schemas.microsoft.com/office/drawing/2014/main" id="{063BE6C7-9EA1-6AB0-95F6-C3B6001BD10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3D120C54-5141-63EA-06B0-3A3EEE832F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73357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/4 spl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3"/>
            <a:ext cx="8128002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16000" y="1143001"/>
            <a:ext cx="6096000" cy="1142999"/>
          </a:xfrm>
        </p:spPr>
        <p:txBody>
          <a:bodyPr/>
          <a:lstStyle>
            <a:lvl1pPr>
              <a:defRPr sz="2800" spc="-18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144000" y="1143001"/>
            <a:ext cx="2032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ABBB9E5C-2A23-1E64-A74E-B72955851CD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6" name="FLD_PresentationTitle" hidden="1">
            <a:extLst>
              <a:ext uri="{FF2B5EF4-FFF2-40B4-BE49-F238E27FC236}">
                <a16:creationId xmlns:a16="http://schemas.microsoft.com/office/drawing/2014/main" id="{F95729FB-88F6-08B1-C189-5A2EFA3A5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448457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/8 spl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F27A814-2675-145A-99D2-25B1A1FDE02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63998" y="-3"/>
            <a:ext cx="8128002" cy="6861600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5080000" y="1143001"/>
            <a:ext cx="6096000" cy="1142999"/>
          </a:xfrm>
        </p:spPr>
        <p:txBody>
          <a:bodyPr/>
          <a:lstStyle>
            <a:lvl1pPr>
              <a:defRPr sz="2800" spc="-18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15998" y="1143001"/>
            <a:ext cx="2032000" cy="4571999"/>
          </a:xfrm>
        </p:spPr>
        <p:txBody>
          <a:bodyPr numCol="1" spcCol="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C9A912-3843-53FA-60CF-D4C875F3C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D561AFBC-E08F-3499-6AE8-256B4350074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6" name="FLD_PresentationTitle" hidden="1">
            <a:extLst>
              <a:ext uri="{FF2B5EF4-FFF2-40B4-BE49-F238E27FC236}">
                <a16:creationId xmlns:a16="http://schemas.microsoft.com/office/drawing/2014/main" id="{D5BB4934-9905-0D7D-50F4-2251ADE46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792692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016000" y="576028"/>
            <a:ext cx="10160000" cy="1143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B62B57-F7D0-7C36-6044-62FDC45761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2048695F-88C6-DAFA-B639-00FE048D445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>
            <a:extLst>
              <a:ext uri="{FF2B5EF4-FFF2-40B4-BE49-F238E27FC236}">
                <a16:creationId xmlns:a16="http://schemas.microsoft.com/office/drawing/2014/main" id="{1D96DCB0-A4AB-5D3D-81C1-E5976425A0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827414391"/>
      </p:ext>
    </p:extLst>
  </p:cSld>
  <p:clrMapOvr>
    <a:masterClrMapping/>
  </p:clrMapOvr>
  <p:transition spd="slow">
    <p:push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016000" y="571501"/>
            <a:ext cx="10160000" cy="5715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B62B57-F7D0-7C36-6044-62FDC45761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2048695F-88C6-DAFA-B639-00FE048D445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>
            <a:extLst>
              <a:ext uri="{FF2B5EF4-FFF2-40B4-BE49-F238E27FC236}">
                <a16:creationId xmlns:a16="http://schemas.microsoft.com/office/drawing/2014/main" id="{1D96DCB0-A4AB-5D3D-81C1-E5976425A0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BCE81F6-2803-88E2-0818-EC814065F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6000" y="1143001"/>
            <a:ext cx="10160000" cy="571500"/>
          </a:xfrm>
        </p:spPr>
        <p:txBody>
          <a:bodyPr/>
          <a:lstStyle>
            <a:lvl1pPr marL="0" indent="0">
              <a:buNone/>
              <a:defRPr sz="2000"/>
            </a:lvl1pPr>
            <a:lvl2pPr marL="90000" indent="0">
              <a:buNone/>
              <a:defRPr/>
            </a:lvl2pPr>
            <a:lvl3pPr marL="180000" indent="0"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387877"/>
      </p:ext>
    </p:extLst>
  </p:cSld>
  <p:clrMapOvr>
    <a:masterClrMapping/>
  </p:clrMapOvr>
  <p:transition spd="slow">
    <p:push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B62B57-F7D0-7C36-6044-62FDC45761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2048695F-88C6-DAFA-B639-00FE048D445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5" name="FLD_PresentationTitle" hidden="1">
            <a:extLst>
              <a:ext uri="{FF2B5EF4-FFF2-40B4-BE49-F238E27FC236}">
                <a16:creationId xmlns:a16="http://schemas.microsoft.com/office/drawing/2014/main" id="{1D96DCB0-A4AB-5D3D-81C1-E5976425A0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559687257"/>
      </p:ext>
    </p:extLst>
  </p:cSld>
  <p:clrMapOvr>
    <a:masterClrMapping/>
  </p:clrMapOvr>
  <p:transition spd="slow">
    <p:push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ines 2">
  <p:cSld name="Title Slide Lines 2">
    <p:bg>
      <p:bgPr>
        <a:solidFill>
          <a:srgbClr val="DEDEDE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40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grpSp>
        <p:nvGrpSpPr>
          <p:cNvPr id="31" name="Google Shape;31;p40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32" name="Google Shape;32;p40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/>
              <a:ahLst/>
              <a:cxnLst/>
              <a:rect l="l" t="t" r="r" b="b"/>
              <a:pathLst>
                <a:path w="12192000" h="6858000" extrusionOk="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350"/>
                <a:buFont typeface="Arial"/>
                <a:buNone/>
              </a:pPr>
              <a:endParaRPr sz="13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3" name="Google Shape;33;p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85139" y="5330952"/>
              <a:ext cx="1636776" cy="135118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4" name="Google Shape;34;p40"/>
          <p:cNvSpPr txBox="1">
            <a:spLocks noGrp="1"/>
          </p:cNvSpPr>
          <p:nvPr>
            <p:ph type="subTitle" idx="1"/>
          </p:nvPr>
        </p:nvSpPr>
        <p:spPr>
          <a:xfrm>
            <a:off x="442914" y="3713609"/>
            <a:ext cx="5473700" cy="594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35" name="Google Shape;35;p40"/>
          <p:cNvSpPr txBox="1">
            <a:spLocks noGrp="1"/>
          </p:cNvSpPr>
          <p:nvPr>
            <p:ph type="ctrTitle"/>
          </p:nvPr>
        </p:nvSpPr>
        <p:spPr>
          <a:xfrm>
            <a:off x="442913" y="428626"/>
            <a:ext cx="7418387" cy="18843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75"/>
              <a:buFont typeface="Georgia"/>
              <a:buNone/>
              <a:defRPr sz="3375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B228394F-BE7A-2262-4AF9-4B90EED71C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3F80D60D-99C4-B113-7F45-A84A277E86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5948" y="2864656"/>
            <a:ext cx="1920104" cy="568219"/>
          </a:xfrm>
          <a:prstGeom prst="rect">
            <a:avLst/>
          </a:prstGeom>
        </p:spPr>
      </p:pic>
      <p:pic>
        <p:nvPicPr>
          <p:cNvPr id="9" name="GlobalTransport&amp;Logistics.png" descr="GlobalTransport&amp;Logistics.png">
            <a:extLst>
              <a:ext uri="{FF2B5EF4-FFF2-40B4-BE49-F238E27FC236}">
                <a16:creationId xmlns:a16="http://schemas.microsoft.com/office/drawing/2014/main" id="{1E80411F-D96A-1733-4CC2-A023EFCD1A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74515" y="3980941"/>
            <a:ext cx="4042971" cy="349488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Slide Number Placeholder 2" hidden="1">
            <a:extLst>
              <a:ext uri="{FF2B5EF4-FFF2-40B4-BE49-F238E27FC236}">
                <a16:creationId xmlns:a16="http://schemas.microsoft.com/office/drawing/2014/main" id="{5681F9E3-16E7-1875-E3BC-602B9846CA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_DateCustomA" hidden="1">
            <a:extLst>
              <a:ext uri="{FF2B5EF4-FFF2-40B4-BE49-F238E27FC236}">
                <a16:creationId xmlns:a16="http://schemas.microsoft.com/office/drawing/2014/main" id="{E805FD9B-473D-902D-E033-2D4D9995A952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1" name="FLD_PresentationTitle" hidden="1">
            <a:extLst>
              <a:ext uri="{FF2B5EF4-FFF2-40B4-BE49-F238E27FC236}">
                <a16:creationId xmlns:a16="http://schemas.microsoft.com/office/drawing/2014/main" id="{71BDDE09-C5FF-5BF0-2014-6703726DDB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078572535"/>
      </p:ext>
    </p:extLst>
  </p:cSld>
  <p:clrMapOvr>
    <a:masterClrMapping/>
  </p:clrMapOvr>
  <p:transition spd="slow">
    <p:push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>
            <a:extLst>
              <a:ext uri="{FF2B5EF4-FFF2-40B4-BE49-F238E27FC236}">
                <a16:creationId xmlns:a16="http://schemas.microsoft.com/office/drawing/2014/main" id="{6544B24D-C639-700F-B730-B477473093D3}"/>
              </a:ext>
            </a:extLst>
          </p:cNvPr>
          <p:cNvSpPr txBox="1"/>
          <p:nvPr userDrawn="1"/>
        </p:nvSpPr>
        <p:spPr>
          <a:xfrm>
            <a:off x="4467579" y="1608016"/>
            <a:ext cx="2642834" cy="42165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ts val="1200"/>
              </a:spcBef>
              <a:defRPr sz="3200"/>
            </a:pPr>
            <a:r>
              <a:rPr lang="en-US" sz="1600" dirty="0"/>
              <a:t>PICTURES</a:t>
            </a:r>
            <a:br>
              <a:rPr lang="en-US" sz="1600" dirty="0"/>
            </a:br>
            <a:r>
              <a:rPr lang="en-US" sz="900" b="1" dirty="0"/>
              <a:t>Insert corporate picture from Templafy</a:t>
            </a:r>
            <a:endParaRPr lang="en-US" sz="900" dirty="0"/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1.</a:t>
            </a:r>
            <a:r>
              <a:rPr lang="en-US" sz="900" b="0" dirty="0"/>
              <a:t> Click the blue </a:t>
            </a:r>
            <a:r>
              <a:rPr lang="en-US" sz="900" dirty="0"/>
              <a:t>Templafy </a:t>
            </a:r>
            <a:r>
              <a:rPr lang="en-US" sz="900" b="0" dirty="0"/>
              <a:t>button</a:t>
            </a:r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2. </a:t>
            </a:r>
            <a:r>
              <a:rPr lang="en-US" sz="900" b="0" dirty="0"/>
              <a:t>In the dropdown, click the </a:t>
            </a:r>
            <a:r>
              <a:rPr lang="en-US" sz="900" dirty="0"/>
              <a:t>Photos </a:t>
            </a:r>
            <a:r>
              <a:rPr lang="en-US" sz="900" b="0" dirty="0"/>
              <a:t>button in the Templafy pane on the right side of the screen</a:t>
            </a:r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3. </a:t>
            </a:r>
            <a:r>
              <a:rPr lang="en-US" sz="900" b="0" dirty="0"/>
              <a:t>Find your image and click in once to insert</a:t>
            </a:r>
          </a:p>
          <a:p>
            <a:pPr>
              <a:spcBef>
                <a:spcPts val="600"/>
              </a:spcBef>
              <a:defRPr sz="1800"/>
            </a:pPr>
            <a:endParaRPr lang="en-US" sz="900" b="0" dirty="0"/>
          </a:p>
          <a:p>
            <a:pPr>
              <a:spcBef>
                <a:spcPts val="600"/>
              </a:spcBef>
              <a:defRPr sz="1800"/>
            </a:pPr>
            <a:endParaRPr lang="en-US" sz="900" b="0" dirty="0"/>
          </a:p>
          <a:p>
            <a:pPr>
              <a:spcBef>
                <a:spcPts val="600"/>
              </a:spcBef>
              <a:defRPr sz="1800"/>
            </a:pPr>
            <a:endParaRPr lang="en-US" sz="900" b="0" dirty="0"/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Hint: </a:t>
            </a:r>
            <a:r>
              <a:rPr lang="en-US" sz="900" b="0" dirty="0"/>
              <a:t>You can search for images in the search field.</a:t>
            </a:r>
          </a:p>
          <a:p>
            <a:pPr>
              <a:spcBef>
                <a:spcPts val="600"/>
              </a:spcBef>
              <a:defRPr sz="1800"/>
            </a:pPr>
            <a:endParaRPr lang="en-US" sz="900" b="0" dirty="0"/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Crop picture</a:t>
            </a:r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1. </a:t>
            </a:r>
            <a:r>
              <a:rPr lang="en-US" sz="900" b="0" dirty="0"/>
              <a:t>Click </a:t>
            </a:r>
            <a:r>
              <a:rPr lang="en-US" sz="900" dirty="0"/>
              <a:t>Crop</a:t>
            </a:r>
            <a:r>
              <a:rPr lang="en-US" sz="900" b="0" dirty="0"/>
              <a:t> to change size or </a:t>
            </a:r>
            <a:br>
              <a:rPr lang="en-US" sz="900" b="0" dirty="0"/>
            </a:br>
            <a:r>
              <a:rPr lang="en-US" sz="900" b="0" dirty="0"/>
              <a:t>focus of the picture</a:t>
            </a:r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2. </a:t>
            </a:r>
            <a:r>
              <a:rPr lang="en-US" sz="900" b="0" dirty="0"/>
              <a:t>If you want to scale the picture, </a:t>
            </a:r>
            <a:br>
              <a:rPr lang="en-US" sz="900" b="0" dirty="0"/>
            </a:br>
            <a:r>
              <a:rPr lang="en-US" sz="900" b="0" dirty="0"/>
              <a:t>hold </a:t>
            </a:r>
            <a:r>
              <a:rPr lang="en-US" sz="900" dirty="0"/>
              <a:t>SHIFT</a:t>
            </a:r>
            <a:r>
              <a:rPr lang="en-US" sz="900" b="0" dirty="0"/>
              <a:t>-key down while </a:t>
            </a:r>
            <a:br>
              <a:rPr lang="en-US" sz="900" b="0" dirty="0"/>
            </a:br>
            <a:r>
              <a:rPr lang="en-US" sz="900" b="0" dirty="0"/>
              <a:t>dragging the corners of the picture</a:t>
            </a:r>
            <a:br>
              <a:rPr lang="en-US" sz="900" b="0" dirty="0"/>
            </a:br>
            <a:endParaRPr lang="en-US" sz="900" b="0" dirty="0"/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HINT: </a:t>
            </a:r>
            <a:r>
              <a:rPr lang="en-US" sz="900" b="0" dirty="0"/>
              <a:t>If you delete the picture and </a:t>
            </a:r>
            <a:br>
              <a:rPr lang="en-US" sz="900" b="0" dirty="0"/>
            </a:br>
            <a:r>
              <a:rPr lang="en-US" sz="900" b="0" dirty="0"/>
              <a:t>insert a new one, the picture may </a:t>
            </a:r>
            <a:br>
              <a:rPr lang="en-US" sz="900" b="0" dirty="0"/>
            </a:br>
            <a:r>
              <a:rPr lang="en-US" sz="900" b="0" dirty="0"/>
              <a:t>lie in front of the text or graphic.</a:t>
            </a:r>
            <a:br>
              <a:rPr lang="en-US" sz="900" b="0" dirty="0"/>
            </a:br>
            <a:r>
              <a:rPr lang="en-US" sz="900" b="0" dirty="0"/>
              <a:t>If this happens, select the picture, </a:t>
            </a:r>
            <a:br>
              <a:rPr lang="en-US" sz="900" b="0" dirty="0"/>
            </a:br>
            <a:r>
              <a:rPr lang="en-US" sz="900" b="0" dirty="0"/>
              <a:t>right-click and choose </a:t>
            </a:r>
            <a:r>
              <a:rPr lang="en-US" sz="900" dirty="0"/>
              <a:t>Send to Back</a:t>
            </a:r>
          </a:p>
        </p:txBody>
      </p:sp>
      <p:grpSp>
        <p:nvGrpSpPr>
          <p:cNvPr id="4" name="Gruppe 25">
            <a:extLst>
              <a:ext uri="{FF2B5EF4-FFF2-40B4-BE49-F238E27FC236}">
                <a16:creationId xmlns:a16="http://schemas.microsoft.com/office/drawing/2014/main" id="{8A1E5916-BEF1-B39E-88A3-27A3CE33FBE2}"/>
              </a:ext>
            </a:extLst>
          </p:cNvPr>
          <p:cNvGrpSpPr/>
          <p:nvPr userDrawn="1"/>
        </p:nvGrpSpPr>
        <p:grpSpPr>
          <a:xfrm>
            <a:off x="7145756" y="1876097"/>
            <a:ext cx="676670" cy="997705"/>
            <a:chOff x="0" y="0"/>
            <a:chExt cx="1353338" cy="1995408"/>
          </a:xfrm>
        </p:grpSpPr>
        <p:pic>
          <p:nvPicPr>
            <p:cNvPr id="5" name="Billede 26" descr="Billede 26">
              <a:extLst>
                <a:ext uri="{FF2B5EF4-FFF2-40B4-BE49-F238E27FC236}">
                  <a16:creationId xmlns:a16="http://schemas.microsoft.com/office/drawing/2014/main" id="{CD4E4287-D76C-463D-B65A-CB61F4A703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611573" cy="7317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6" name="Billede 37" descr="Billede 37">
              <a:extLst>
                <a:ext uri="{FF2B5EF4-FFF2-40B4-BE49-F238E27FC236}">
                  <a16:creationId xmlns:a16="http://schemas.microsoft.com/office/drawing/2014/main" id="{517F9EF2-51C8-E09B-9E48-D98C4B6EAA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432" t="16308" r="2422" b="1509"/>
            <a:stretch>
              <a:fillRect/>
            </a:stretch>
          </p:blipFill>
          <p:spPr>
            <a:xfrm>
              <a:off x="3632" y="738429"/>
              <a:ext cx="1349707" cy="1256980"/>
            </a:xfrm>
            <a:prstGeom prst="rect">
              <a:avLst/>
            </a:prstGeom>
            <a:ln w="3175" cap="flat">
              <a:solidFill>
                <a:srgbClr val="F2F2F2"/>
              </a:solidFill>
              <a:prstDash val="solid"/>
              <a:round/>
            </a:ln>
            <a:effectLst/>
          </p:spPr>
        </p:pic>
      </p:grpSp>
      <p:sp>
        <p:nvSpPr>
          <p:cNvPr id="7" name="Text Box 2">
            <a:extLst>
              <a:ext uri="{FF2B5EF4-FFF2-40B4-BE49-F238E27FC236}">
                <a16:creationId xmlns:a16="http://schemas.microsoft.com/office/drawing/2014/main" id="{5E6BFE96-B170-E953-A8B2-88A3106B92AB}"/>
              </a:ext>
            </a:extLst>
          </p:cNvPr>
          <p:cNvSpPr txBox="1"/>
          <p:nvPr userDrawn="1"/>
        </p:nvSpPr>
        <p:spPr>
          <a:xfrm>
            <a:off x="1016000" y="1613646"/>
            <a:ext cx="2136361" cy="4755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  <a:defRPr sz="3200"/>
            </a:pPr>
            <a:r>
              <a:rPr lang="en-US" sz="1600" dirty="0"/>
              <a:t>TEXT STYLES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Use the </a:t>
            </a:r>
            <a:r>
              <a:rPr lang="en-US" sz="900" b="1" dirty="0"/>
              <a:t>TAB</a:t>
            </a:r>
            <a:r>
              <a:rPr lang="en-US" sz="900" dirty="0"/>
              <a:t>-key to jump through levels. Click </a:t>
            </a:r>
            <a:r>
              <a:rPr lang="en-US" sz="900" b="1" dirty="0"/>
              <a:t>ENTER</a:t>
            </a:r>
            <a:r>
              <a:rPr lang="en-US" sz="900" dirty="0"/>
              <a:t>, then </a:t>
            </a:r>
            <a:r>
              <a:rPr lang="en-US" sz="900" b="1" dirty="0"/>
              <a:t>TAB</a:t>
            </a:r>
            <a:r>
              <a:rPr lang="en-US" sz="900" dirty="0"/>
              <a:t> to switch from one level to the next level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To go back in levels use </a:t>
            </a:r>
            <a:r>
              <a:rPr lang="en-US" sz="900" b="1" dirty="0"/>
              <a:t>SHIFT-TAB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Alternatively, </a:t>
            </a:r>
            <a:r>
              <a:rPr lang="en-US" sz="900" b="1" dirty="0"/>
              <a:t>Increase</a:t>
            </a:r>
            <a:r>
              <a:rPr lang="en-US" sz="900" dirty="0"/>
              <a:t> and </a:t>
            </a:r>
            <a:r>
              <a:rPr lang="en-US" sz="900" b="1" dirty="0"/>
              <a:t>Decrease</a:t>
            </a:r>
            <a:br>
              <a:rPr lang="en-US" sz="900" b="1" dirty="0"/>
            </a:br>
            <a:r>
              <a:rPr lang="en-US" sz="900" dirty="0"/>
              <a:t>list level can be used</a:t>
            </a:r>
          </a:p>
          <a:p>
            <a:pPr>
              <a:spcBef>
                <a:spcPts val="600"/>
              </a:spcBef>
              <a:defRPr sz="1800"/>
            </a:pPr>
            <a:endParaRPr lang="en-US" sz="900" dirty="0"/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HINT: Use bullet button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Delete bullet for regular text.</a:t>
            </a:r>
            <a:br>
              <a:rPr lang="en-US" sz="900" dirty="0"/>
            </a:br>
            <a:r>
              <a:rPr lang="en-US" sz="900" dirty="0"/>
              <a:t>Click on the bullet button to reapply the correct bullet again</a:t>
            </a:r>
          </a:p>
          <a:p>
            <a:pPr>
              <a:spcBef>
                <a:spcPts val="600"/>
              </a:spcBef>
              <a:defRPr sz="1800"/>
            </a:pPr>
            <a:br>
              <a:rPr lang="en-US" sz="900" dirty="0"/>
            </a:br>
            <a:r>
              <a:rPr lang="en-US" sz="1600" dirty="0"/>
              <a:t>SLIDES &amp; LAYOUTS</a:t>
            </a:r>
            <a:br>
              <a:rPr lang="en-US" sz="1600" dirty="0"/>
            </a:br>
            <a:br>
              <a:rPr lang="en-US" sz="1600" dirty="0"/>
            </a:br>
            <a:r>
              <a:rPr lang="en-US" sz="900" dirty="0"/>
              <a:t>Click on the menu </a:t>
            </a:r>
            <a:r>
              <a:rPr lang="en-US" sz="900" b="1" dirty="0"/>
              <a:t>New Slide </a:t>
            </a:r>
            <a:r>
              <a:rPr lang="en-US" sz="900" dirty="0"/>
              <a:t>in the </a:t>
            </a:r>
            <a:r>
              <a:rPr lang="en-US" sz="900" b="1" dirty="0"/>
              <a:t>Home</a:t>
            </a:r>
            <a:r>
              <a:rPr lang="en-US" sz="900" dirty="0"/>
              <a:t> tab to insert a new slide</a:t>
            </a:r>
            <a:br>
              <a:rPr lang="en-US" sz="900" dirty="0"/>
            </a:br>
            <a:br>
              <a:rPr lang="en-US" sz="900" dirty="0"/>
            </a:br>
            <a:r>
              <a:rPr lang="en-US" sz="900" b="1" dirty="0"/>
              <a:t>Change layout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Click on the arrow next to </a:t>
            </a:r>
            <a:r>
              <a:rPr lang="en-US" sz="900" b="1" dirty="0"/>
              <a:t>Layout</a:t>
            </a:r>
            <a:br>
              <a:rPr lang="en-US" sz="900" b="1" dirty="0"/>
            </a:br>
            <a:r>
              <a:rPr lang="en-US" sz="900" dirty="0"/>
              <a:t>to view a dropdown menu of possible slide layouts</a:t>
            </a:r>
            <a:br>
              <a:rPr lang="en-US" sz="900" dirty="0"/>
            </a:br>
            <a:br>
              <a:rPr lang="en-US" sz="900" dirty="0"/>
            </a:br>
            <a:r>
              <a:rPr lang="en-US" sz="900" b="1" dirty="0"/>
              <a:t>Reset slide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Click the </a:t>
            </a:r>
            <a:r>
              <a:rPr lang="en-US" sz="900" b="1" dirty="0"/>
              <a:t>Reset </a:t>
            </a:r>
            <a:r>
              <a:rPr lang="en-US" sz="900" dirty="0"/>
              <a:t>menu to reset position, size and formatting of the </a:t>
            </a:r>
            <a:br>
              <a:rPr lang="en-US" sz="900" dirty="0"/>
            </a:br>
            <a:r>
              <a:rPr lang="en-US" sz="900" dirty="0"/>
              <a:t>slide placeholders to their default settings</a:t>
            </a:r>
          </a:p>
        </p:txBody>
      </p:sp>
      <p:pic>
        <p:nvPicPr>
          <p:cNvPr id="8" name="Picture 2" descr="Picture 2">
            <a:extLst>
              <a:ext uri="{FF2B5EF4-FFF2-40B4-BE49-F238E27FC236}">
                <a16:creationId xmlns:a16="http://schemas.microsoft.com/office/drawing/2014/main" id="{0AE98524-32C4-9EE3-E8FA-29E2F411832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3501" y="3322850"/>
            <a:ext cx="257144" cy="28571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Picture 29" descr="Picture 29">
            <a:extLst>
              <a:ext uri="{FF2B5EF4-FFF2-40B4-BE49-F238E27FC236}">
                <a16:creationId xmlns:a16="http://schemas.microsoft.com/office/drawing/2014/main" id="{83F57B94-FFE1-82FB-A44E-9227C7C52FB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94042" y="2599667"/>
            <a:ext cx="457144" cy="257144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Picture 16" descr="Picture 16">
            <a:extLst>
              <a:ext uri="{FF2B5EF4-FFF2-40B4-BE49-F238E27FC236}">
                <a16:creationId xmlns:a16="http://schemas.microsoft.com/office/drawing/2014/main" id="{C6297347-9B90-9765-2062-96945E9218C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199923" y="4313402"/>
            <a:ext cx="328882" cy="505502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Picture 20" descr="Picture 20">
            <a:extLst>
              <a:ext uri="{FF2B5EF4-FFF2-40B4-BE49-F238E27FC236}">
                <a16:creationId xmlns:a16="http://schemas.microsoft.com/office/drawing/2014/main" id="{616ABA94-E10A-5E32-669D-EBD7DA9076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99923" y="5641555"/>
            <a:ext cx="538466" cy="172842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Picture 19" descr="Picture 19">
            <a:extLst>
              <a:ext uri="{FF2B5EF4-FFF2-40B4-BE49-F238E27FC236}">
                <a16:creationId xmlns:a16="http://schemas.microsoft.com/office/drawing/2014/main" id="{21BBD215-6D0C-3D89-CF7D-E3806B304F3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01777" y="4171639"/>
            <a:ext cx="313789" cy="543901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Text Box 4">
            <a:extLst>
              <a:ext uri="{FF2B5EF4-FFF2-40B4-BE49-F238E27FC236}">
                <a16:creationId xmlns:a16="http://schemas.microsoft.com/office/drawing/2014/main" id="{2D5A08AE-C050-3C3E-D457-4601CD853B9D}"/>
              </a:ext>
            </a:extLst>
          </p:cNvPr>
          <p:cNvSpPr txBox="1"/>
          <p:nvPr userDrawn="1"/>
        </p:nvSpPr>
        <p:spPr>
          <a:xfrm>
            <a:off x="8131102" y="1608016"/>
            <a:ext cx="2214244" cy="3447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  <a:defRPr sz="3200"/>
            </a:pPr>
            <a:r>
              <a:rPr lang="en-US" sz="1600" dirty="0"/>
              <a:t>HEADER &amp; FOOTER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Do this at the very end to apply the changes on all slides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Click on </a:t>
            </a:r>
            <a:r>
              <a:rPr lang="en-US" sz="900" b="1" dirty="0"/>
              <a:t>Header and Footer </a:t>
            </a:r>
            <a:r>
              <a:rPr lang="en-US" sz="900" dirty="0"/>
              <a:t>in the </a:t>
            </a:r>
            <a:r>
              <a:rPr lang="en-US" sz="900" b="1" dirty="0"/>
              <a:t>Insert</a:t>
            </a:r>
            <a:r>
              <a:rPr lang="en-US" sz="900" dirty="0"/>
              <a:t> tab (write the desired text)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Click </a:t>
            </a:r>
            <a:r>
              <a:rPr lang="en-US" sz="900" b="1" dirty="0"/>
              <a:t>Apply to All </a:t>
            </a:r>
            <a:r>
              <a:rPr lang="en-US" sz="900" dirty="0"/>
              <a:t>or </a:t>
            </a:r>
            <a:r>
              <a:rPr lang="en-US" sz="900" b="1" dirty="0"/>
              <a:t>Apply</a:t>
            </a:r>
            <a:r>
              <a:rPr lang="en-US" sz="900" dirty="0"/>
              <a:t> if only used on one slide</a:t>
            </a:r>
          </a:p>
          <a:p>
            <a:pPr>
              <a:spcBef>
                <a:spcPts val="1200"/>
              </a:spcBef>
              <a:defRPr sz="3200"/>
            </a:pPr>
            <a:r>
              <a:rPr lang="en-US" sz="1600" dirty="0"/>
              <a:t>GRIDLINES</a:t>
            </a:r>
            <a:endParaRPr lang="en-US" sz="1600" b="1" dirty="0"/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Click the </a:t>
            </a:r>
            <a:r>
              <a:rPr lang="en-US" sz="900" b="1" dirty="0"/>
              <a:t>View</a:t>
            </a:r>
            <a:r>
              <a:rPr lang="en-US" sz="900" dirty="0"/>
              <a:t> tab and set tick mark next to </a:t>
            </a:r>
            <a:r>
              <a:rPr lang="en-US" sz="900" b="1" dirty="0"/>
              <a:t>Guides</a:t>
            </a:r>
          </a:p>
          <a:p>
            <a:pPr>
              <a:spcBef>
                <a:spcPts val="600"/>
              </a:spcBef>
              <a:defRPr sz="1800" b="1"/>
            </a:pPr>
            <a:r>
              <a:rPr lang="en-US" sz="900" dirty="0"/>
              <a:t>HINT: Alt + F9 </a:t>
            </a:r>
            <a:r>
              <a:rPr lang="en-US" sz="900" b="0" dirty="0"/>
              <a:t>for quick view of guides</a:t>
            </a:r>
          </a:p>
          <a:p>
            <a:pPr>
              <a:spcBef>
                <a:spcPts val="600"/>
              </a:spcBef>
              <a:defRPr sz="1800"/>
            </a:pPr>
            <a:endParaRPr lang="en-US" sz="900" b="0" dirty="0"/>
          </a:p>
          <a:p>
            <a:pPr>
              <a:spcBef>
                <a:spcPts val="600"/>
              </a:spcBef>
              <a:defRPr sz="3200"/>
            </a:pPr>
            <a:r>
              <a:rPr lang="en-US" sz="1600" dirty="0"/>
              <a:t>SLIDES</a:t>
            </a:r>
          </a:p>
          <a:p>
            <a:pPr>
              <a:spcBef>
                <a:spcPts val="600"/>
              </a:spcBef>
              <a:defRPr sz="1800"/>
            </a:pPr>
            <a:r>
              <a:rPr lang="en-US" sz="900" dirty="0"/>
              <a:t>Insert predefined slides from the Templafy button. Choose </a:t>
            </a:r>
            <a:r>
              <a:rPr lang="en-US" sz="900" b="1" dirty="0"/>
              <a:t>Slides</a:t>
            </a:r>
            <a:r>
              <a:rPr lang="en-US" sz="900" dirty="0"/>
              <a:t> from the dropdown menu or from the buttons in the Templafy pane on the right side of the screen</a:t>
            </a:r>
          </a:p>
        </p:txBody>
      </p:sp>
      <p:sp>
        <p:nvSpPr>
          <p:cNvPr id="21" name="Fast overskrift">
            <a:extLst>
              <a:ext uri="{FF2B5EF4-FFF2-40B4-BE49-F238E27FC236}">
                <a16:creationId xmlns:a16="http://schemas.microsoft.com/office/drawing/2014/main" id="{E3C053DC-A8AC-4F2C-31E6-AE4ACECFE626}"/>
              </a:ext>
            </a:extLst>
          </p:cNvPr>
          <p:cNvSpPr txBox="1"/>
          <p:nvPr userDrawn="1"/>
        </p:nvSpPr>
        <p:spPr>
          <a:xfrm>
            <a:off x="1016000" y="579810"/>
            <a:ext cx="10633074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6400"/>
            </a:lvl1pPr>
          </a:lstStyle>
          <a:p>
            <a:r>
              <a:rPr lang="en-US" sz="3200" dirty="0"/>
              <a:t>TIPS &amp; TRICKS - YOUR USER GUIDE</a:t>
            </a:r>
          </a:p>
        </p:txBody>
      </p:sp>
      <p:pic>
        <p:nvPicPr>
          <p:cNvPr id="23" name="Picture 2" descr="Picture 2">
            <a:extLst>
              <a:ext uri="{FF2B5EF4-FFF2-40B4-BE49-F238E27FC236}">
                <a16:creationId xmlns:a16="http://schemas.microsoft.com/office/drawing/2014/main" id="{64425764-08A8-067C-6FC3-54C2A125B99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525149" y="4279948"/>
            <a:ext cx="650851" cy="973829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Picture 24" descr="Picture 24">
            <a:extLst>
              <a:ext uri="{FF2B5EF4-FFF2-40B4-BE49-F238E27FC236}">
                <a16:creationId xmlns:a16="http://schemas.microsoft.com/office/drawing/2014/main" id="{7781CC46-5157-D188-A075-1AD91E7F3E7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99922" y="5077014"/>
            <a:ext cx="475429" cy="176763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Picture 12" descr="Picture 12">
            <a:extLst>
              <a:ext uri="{FF2B5EF4-FFF2-40B4-BE49-F238E27FC236}">
                <a16:creationId xmlns:a16="http://schemas.microsoft.com/office/drawing/2014/main" id="{6CC967B0-2B41-9B4F-1FC1-4BD02B90010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525149" y="2217244"/>
            <a:ext cx="378294" cy="543367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 3">
            <a:extLst>
              <a:ext uri="{FF2B5EF4-FFF2-40B4-BE49-F238E27FC236}">
                <a16:creationId xmlns:a16="http://schemas.microsoft.com/office/drawing/2014/main" id="{B0FC6CB9-1906-BFB6-34F3-5A63E8B42393}"/>
              </a:ext>
            </a:extLst>
          </p:cNvPr>
          <p:cNvGrpSpPr/>
          <p:nvPr userDrawn="1"/>
        </p:nvGrpSpPr>
        <p:grpSpPr>
          <a:xfrm>
            <a:off x="4465763" y="2841432"/>
            <a:ext cx="2243060" cy="594908"/>
            <a:chOff x="0" y="0"/>
            <a:chExt cx="4486118" cy="1189813"/>
          </a:xfrm>
        </p:grpSpPr>
        <p:pic>
          <p:nvPicPr>
            <p:cNvPr id="32" name="Billede 1" descr="Billede 1">
              <a:extLst>
                <a:ext uri="{FF2B5EF4-FFF2-40B4-BE49-F238E27FC236}">
                  <a16:creationId xmlns:a16="http://schemas.microsoft.com/office/drawing/2014/main" id="{E717D799-3C1A-AB85-09A3-F340C4F07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 t="21433"/>
            <a:stretch>
              <a:fillRect/>
            </a:stretch>
          </p:blipFill>
          <p:spPr>
            <a:xfrm>
              <a:off x="0" y="0"/>
              <a:ext cx="4486119" cy="111439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33" name="Rektangel 3">
              <a:extLst>
                <a:ext uri="{FF2B5EF4-FFF2-40B4-BE49-F238E27FC236}">
                  <a16:creationId xmlns:a16="http://schemas.microsoft.com/office/drawing/2014/main" id="{EA928BEC-9004-B2BD-0FF4-9152FD686F14}"/>
                </a:ext>
              </a:extLst>
            </p:cNvPr>
            <p:cNvSpPr/>
            <p:nvPr/>
          </p:nvSpPr>
          <p:spPr>
            <a:xfrm>
              <a:off x="-1" y="739579"/>
              <a:ext cx="4486118" cy="450235"/>
            </a:xfrm>
            <a:prstGeom prst="rect">
              <a:avLst/>
            </a:prstGeom>
            <a:noFill/>
            <a:ln w="25400" cap="flat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wrap="square" lIns="72000" tIns="72000" rIns="72000" bIns="72000" numCol="1" anchor="ctr">
              <a:noAutofit/>
            </a:bodyPr>
            <a:lstStyle/>
            <a:p>
              <a:pPr algn="ctr">
                <a:defRPr sz="4000">
                  <a:solidFill>
                    <a:srgbClr val="FFFFFF"/>
                  </a:solidFill>
                </a:defRPr>
              </a:pPr>
              <a:endParaRPr 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663248985"/>
      </p:ext>
    </p:extLst>
  </p:cSld>
  <p:clrMapOvr>
    <a:masterClrMapping/>
  </p:clrMapOvr>
  <p:transition spd="slow">
    <p:push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752" y="491007"/>
            <a:ext cx="11109324" cy="392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539750" y="876732"/>
            <a:ext cx="11109326" cy="3924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accent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231098"/>
      </p:ext>
    </p:extLst>
  </p:cSld>
  <p:clrMapOvr>
    <a:masterClrMapping/>
  </p:clrMapOvr>
  <p:transition spd="slow">
    <p:push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50/50 split Green">
    <p:bg>
      <p:bgPr>
        <a:solidFill>
          <a:srgbClr val="1990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holden-baxter-oxQ0egaQMfU-unsplash.jpeg"/>
          <p:cNvSpPr>
            <a:spLocks noGrp="1"/>
          </p:cNvSpPr>
          <p:nvPr>
            <p:ph type="pic" idx="21"/>
          </p:nvPr>
        </p:nvSpPr>
        <p:spPr>
          <a:xfrm>
            <a:off x="6096124" y="-1144510"/>
            <a:ext cx="6098758" cy="914702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4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541000" y="6191250"/>
            <a:ext cx="635000" cy="98692"/>
          </a:xfrm>
          <a:prstGeom prst="rect">
            <a:avLst/>
          </a:prstGeom>
        </p:spPr>
        <p:txBody>
          <a:bodyPr wrap="square"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" name="Add Headline…">
            <a:extLst>
              <a:ext uri="{FF2B5EF4-FFF2-40B4-BE49-F238E27FC236}">
                <a16:creationId xmlns:a16="http://schemas.microsoft.com/office/drawing/2014/main" id="{7C6FB51B-3BA5-4414-BF71-1FADDC9018C3}"/>
              </a:ext>
            </a:extLst>
          </p:cNvPr>
          <p:cNvSpPr txBox="1">
            <a:spLocks noGrp="1"/>
          </p:cNvSpPr>
          <p:nvPr>
            <p:ph type="body" sz="quarter" idx="22"/>
          </p:nvPr>
        </p:nvSpPr>
        <p:spPr>
          <a:xfrm>
            <a:off x="1023575" y="1071975"/>
            <a:ext cx="3046384" cy="4558726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30000"/>
              </a:lnSpc>
              <a:spcBef>
                <a:spcPts val="800"/>
              </a:spcBef>
              <a:buSzTx/>
              <a:buFontTx/>
              <a:buNone/>
              <a:defRPr sz="2000" b="1" spc="-270">
                <a:solidFill>
                  <a:srgbClr val="00000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indent="0">
              <a:spcBef>
                <a:spcPts val="1600"/>
              </a:spcBef>
              <a:buSzTx/>
              <a:buFontTx/>
              <a:buNone/>
              <a:defRPr sz="5400" b="1" spc="-270">
                <a:solidFill>
                  <a:srgbClr val="000000"/>
                </a:solidFill>
              </a:defRPr>
            </a:pPr>
            <a:r>
              <a:t>Add Headline </a:t>
            </a:r>
          </a:p>
          <a:p>
            <a:pPr marL="0" indent="0">
              <a:lnSpc>
                <a:spcPct val="83000"/>
              </a:lnSpc>
              <a:spcBef>
                <a:spcPts val="1600"/>
              </a:spcBef>
              <a:buSzTx/>
              <a:buFontTx/>
              <a:buNone/>
              <a:defRPr sz="5400" b="1" spc="-270">
                <a:solidFill>
                  <a:srgbClr val="000000"/>
                </a:solidFill>
              </a:defRPr>
            </a:pPr>
            <a:endParaRPr/>
          </a:p>
          <a:p>
            <a:pPr marL="359999" indent="-359999">
              <a:lnSpc>
                <a:spcPct val="130000"/>
              </a:lnSpc>
              <a:spcBef>
                <a:spcPts val="1600"/>
              </a:spcBef>
              <a:defRPr sz="2000">
                <a:solidFill>
                  <a:srgbClr val="000000"/>
                </a:solidFill>
              </a:defRPr>
            </a:pPr>
            <a:r>
              <a:t>Body Level One</a:t>
            </a:r>
          </a:p>
          <a:p>
            <a:pPr lvl="1">
              <a:lnSpc>
                <a:spcPct val="130000"/>
              </a:lnSpc>
              <a:spcBef>
                <a:spcPts val="800"/>
              </a:spcBef>
              <a:defRPr sz="2000">
                <a:solidFill>
                  <a:srgbClr val="000000"/>
                </a:solidFill>
              </a:defRPr>
            </a:pPr>
            <a:r>
              <a:t>Body Level Two</a:t>
            </a:r>
          </a:p>
          <a:p>
            <a:pPr lvl="2">
              <a:lnSpc>
                <a:spcPct val="130000"/>
              </a:lnSpc>
              <a:spcBef>
                <a:spcPts val="800"/>
              </a:spcBef>
              <a:defRPr sz="2000">
                <a:solidFill>
                  <a:srgbClr val="000000"/>
                </a:solidFill>
              </a:defRPr>
            </a:pPr>
            <a:r>
              <a:t>Body Level Three</a:t>
            </a:r>
          </a:p>
          <a:p>
            <a:pPr lvl="3">
              <a:lnSpc>
                <a:spcPct val="130000"/>
              </a:lnSpc>
              <a:spcBef>
                <a:spcPts val="800"/>
              </a:spcBef>
              <a:defRPr sz="2000">
                <a:solidFill>
                  <a:srgbClr val="000000"/>
                </a:solidFill>
              </a:defRPr>
            </a:pPr>
            <a:r>
              <a:t>Body Level Four</a:t>
            </a:r>
          </a:p>
          <a:p>
            <a:pPr lvl="4">
              <a:lnSpc>
                <a:spcPct val="130000"/>
              </a:lnSpc>
              <a:spcBef>
                <a:spcPts val="800"/>
              </a:spcBef>
              <a:defRPr sz="2000">
                <a:solidFill>
                  <a:srgbClr val="000000"/>
                </a:solidFill>
              </a:defRPr>
            </a:pPr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857613473"/>
      </p:ext>
    </p:extLst>
  </p:cSld>
  <p:clrMapOvr>
    <a:masterClrMapping/>
  </p:clrMapOvr>
  <p:transition spd="slow">
    <p:push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>
  <p:cSld name="Two 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7"/>
          <p:cNvSpPr txBox="1">
            <a:spLocks noGrp="1"/>
          </p:cNvSpPr>
          <p:nvPr>
            <p:ph type="title"/>
          </p:nvPr>
        </p:nvSpPr>
        <p:spPr>
          <a:xfrm>
            <a:off x="442913" y="384048"/>
            <a:ext cx="11306173" cy="841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67"/>
          <p:cNvSpPr txBox="1">
            <a:spLocks noGrp="1"/>
          </p:cNvSpPr>
          <p:nvPr>
            <p:ph type="body" idx="1"/>
          </p:nvPr>
        </p:nvSpPr>
        <p:spPr>
          <a:xfrm>
            <a:off x="438912" y="1733550"/>
            <a:ext cx="5477256" cy="4478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67"/>
          <p:cNvSpPr txBox="1">
            <a:spLocks noGrp="1"/>
          </p:cNvSpPr>
          <p:nvPr>
            <p:ph type="body" idx="2"/>
          </p:nvPr>
        </p:nvSpPr>
        <p:spPr>
          <a:xfrm>
            <a:off x="6278563" y="1733550"/>
            <a:ext cx="5477256" cy="4478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67"/>
          <p:cNvSpPr txBox="1"/>
          <p:nvPr/>
        </p:nvSpPr>
        <p:spPr>
          <a:xfrm>
            <a:off x="442912" y="6373368"/>
            <a:ext cx="1962468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endParaRPr sz="75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67"/>
          <p:cNvSpPr txBox="1"/>
          <p:nvPr/>
        </p:nvSpPr>
        <p:spPr>
          <a:xfrm>
            <a:off x="442912" y="6513984"/>
            <a:ext cx="421590" cy="115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r>
              <a:rPr lang="da-DK"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rategy&amp;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29;p67"/>
          <p:cNvSpPr txBox="1">
            <a:spLocks noGrp="1"/>
          </p:cNvSpPr>
          <p:nvPr>
            <p:ph type="body" idx="3"/>
          </p:nvPr>
        </p:nvSpPr>
        <p:spPr>
          <a:xfrm>
            <a:off x="2590800" y="6355080"/>
            <a:ext cx="6998208" cy="274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750"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67"/>
          <p:cNvSpPr txBox="1"/>
          <p:nvPr/>
        </p:nvSpPr>
        <p:spPr>
          <a:xfrm>
            <a:off x="11343697" y="6519672"/>
            <a:ext cx="387927" cy="109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176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endParaRPr sz="75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31;p67"/>
          <p:cNvSpPr txBox="1">
            <a:spLocks noGrp="1"/>
          </p:cNvSpPr>
          <p:nvPr>
            <p:ph type="body" idx="4"/>
          </p:nvPr>
        </p:nvSpPr>
        <p:spPr>
          <a:xfrm>
            <a:off x="442913" y="1276212"/>
            <a:ext cx="11306173" cy="320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67"/>
          <p:cNvSpPr txBox="1">
            <a:spLocks noGrp="1"/>
          </p:cNvSpPr>
          <p:nvPr>
            <p:ph type="dt" idx="10"/>
          </p:nvPr>
        </p:nvSpPr>
        <p:spPr>
          <a:xfrm>
            <a:off x="9701408" y="6252882"/>
            <a:ext cx="2028305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925" rIns="0" bIns="509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67"/>
          <p:cNvSpPr txBox="1">
            <a:spLocks noGrp="1"/>
          </p:cNvSpPr>
          <p:nvPr>
            <p:ph type="sldNum" idx="12"/>
          </p:nvPr>
        </p:nvSpPr>
        <p:spPr>
          <a:xfrm>
            <a:off x="9701408" y="6390042"/>
            <a:ext cx="2028305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925" rIns="0" bIns="509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a-DK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9152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. DSV blue.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32BB7F6-9F0A-A368-C487-990A3FB80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97DF23-1386-F624-BC3A-8FA3598A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16000" y="1143000"/>
            <a:ext cx="7112000" cy="3991137"/>
          </a:xfrm>
        </p:spPr>
        <p:txBody>
          <a:bodyPr/>
          <a:lstStyle>
            <a:lvl1pPr>
              <a:lnSpc>
                <a:spcPct val="100000"/>
              </a:lnSpc>
              <a:defRPr sz="6000" spc="-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3686554A-1224-B98B-303F-3DEF4C9C95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00" y="6090767"/>
            <a:ext cx="661414" cy="195733"/>
          </a:xfrm>
          <a:prstGeom prst="rect">
            <a:avLst/>
          </a:prstGeom>
        </p:spPr>
      </p:pic>
      <p:sp>
        <p:nvSpPr>
          <p:cNvPr id="10" name="Date_DateCustomA" hidden="1">
            <a:extLst>
              <a:ext uri="{FF2B5EF4-FFF2-40B4-BE49-F238E27FC236}">
                <a16:creationId xmlns:a16="http://schemas.microsoft.com/office/drawing/2014/main" id="{C20D0076-D329-96AA-A04A-541769850D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1" name="FLD_PresentationTitle" hidden="1">
            <a:extLst>
              <a:ext uri="{FF2B5EF4-FFF2-40B4-BE49-F238E27FC236}">
                <a16:creationId xmlns:a16="http://schemas.microsoft.com/office/drawing/2014/main" id="{B43EA88E-0BF1-3508-3720-CE65072E1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2E0F7ED9-BD90-84B2-5B4F-85E0B0B74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807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. White.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97DF23-1386-F624-BC3A-8FA3598A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000" y="1143000"/>
            <a:ext cx="7112000" cy="3991137"/>
          </a:xfrm>
        </p:spPr>
        <p:txBody>
          <a:bodyPr/>
          <a:lstStyle>
            <a:lvl1pPr>
              <a:lnSpc>
                <a:spcPct val="100000"/>
              </a:lnSpc>
              <a:defRPr sz="6000" spc="-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B9019654-4813-5F8A-EA65-5AE9FE42F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>
          <a:xfrm>
            <a:off x="1016000" y="6090767"/>
            <a:ext cx="661414" cy="195733"/>
          </a:xfrm>
          <a:prstGeom prst="rect">
            <a:avLst/>
          </a:prstGeom>
        </p:spPr>
      </p:pic>
      <p:sp>
        <p:nvSpPr>
          <p:cNvPr id="8" name="Date_DateCustomA" hidden="1">
            <a:extLst>
              <a:ext uri="{FF2B5EF4-FFF2-40B4-BE49-F238E27FC236}">
                <a16:creationId xmlns:a16="http://schemas.microsoft.com/office/drawing/2014/main" id="{D925183B-C5E9-CA72-F99B-A8B64B88B6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9" name="FLD_PresentationTitle" hidden="1">
            <a:extLst>
              <a:ext uri="{FF2B5EF4-FFF2-40B4-BE49-F238E27FC236}">
                <a16:creationId xmlns:a16="http://schemas.microsoft.com/office/drawing/2014/main" id="{5BC658D0-3D0D-6FBA-4900-55595E10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A83469B6-0EA8-B63F-D617-0C1C27E69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50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. Dark picture.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03339083-32F6-B6AC-9B07-EBC1CF9E34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12192000" cy="6858001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97DF23-1386-F624-BC3A-8FA3598A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000" y="1143000"/>
            <a:ext cx="7112000" cy="4000500"/>
          </a:xfrm>
        </p:spPr>
        <p:txBody>
          <a:bodyPr/>
          <a:lstStyle>
            <a:lvl1pPr>
              <a:lnSpc>
                <a:spcPct val="100000"/>
              </a:lnSpc>
              <a:defRPr sz="6000" spc="-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88DEE54-AD7D-6357-541F-77DFAFE2F7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16000" y="5143500"/>
            <a:ext cx="7112000" cy="5715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99992B8E-2755-D334-48EB-880B817594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6090767"/>
            <a:ext cx="661414" cy="195733"/>
          </a:xfrm>
          <a:blipFill>
            <a:blip r:embed="rId2"/>
            <a:srcRect/>
            <a:stretch>
              <a:fillRect l="-39" r="-39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BDE2133D-F949-2B78-1FB8-2497C0F954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B0AEC2B2-1751-BF9A-070E-37CF02B00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017562DB-CBFA-21AA-7D2C-9943DAF43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463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. Light picture.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03339083-32F6-B6AC-9B07-EBC1CF9E34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12192000" cy="6858001"/>
          </a:xfrm>
          <a:solidFill>
            <a:srgbClr val="D7D9DC"/>
          </a:solidFill>
        </p:spPr>
        <p:txBody>
          <a:bodyPr lIns="72000" tIns="72000" r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Activate the frame go to Templafy -&gt; Photos to select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97DF23-1386-F624-BC3A-8FA3598A6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000" y="1143000"/>
            <a:ext cx="7112000" cy="4000500"/>
          </a:xfrm>
        </p:spPr>
        <p:txBody>
          <a:bodyPr/>
          <a:lstStyle>
            <a:lvl1pPr>
              <a:lnSpc>
                <a:spcPct val="100000"/>
              </a:lnSpc>
              <a:defRPr sz="6000" spc="-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88DEE54-AD7D-6357-541F-77DFAFE2F7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16000" y="5143500"/>
            <a:ext cx="7112000" cy="571499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99992B8E-2755-D334-48EB-880B817594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6000" y="6090767"/>
            <a:ext cx="661414" cy="195733"/>
          </a:xfrm>
          <a:blipFill>
            <a:blip r:embed="rId2"/>
            <a:srcRect/>
            <a:stretch>
              <a:fillRect l="-39" r="-39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6156D200-358D-8DB0-B3B5-7FAC7BC8DD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968453-BAB5-46CE-A4CF-38551120EE52}" type="datetime3">
              <a:rPr lang="en-US" smtClean="0"/>
              <a:t>14 December 2023</a:t>
            </a:fld>
            <a:endParaRPr lang="en-US" dirty="0"/>
          </a:p>
        </p:txBody>
      </p:sp>
      <p:sp>
        <p:nvSpPr>
          <p:cNvPr id="9" name="FLD_PresentationTitle" hidden="1">
            <a:extLst>
              <a:ext uri="{FF2B5EF4-FFF2-40B4-BE49-F238E27FC236}">
                <a16:creationId xmlns:a16="http://schemas.microsoft.com/office/drawing/2014/main" id="{491E8687-937F-340F-55F7-BA011ADBA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Add place via Insert, Header &amp; Footer</a:t>
            </a:r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751CD079-A686-3C13-193B-112E31299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521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6"/>
          <p:cNvSpPr txBox="1">
            <a:spLocks noGrp="1"/>
          </p:cNvSpPr>
          <p:nvPr>
            <p:ph type="title"/>
          </p:nvPr>
        </p:nvSpPr>
        <p:spPr>
          <a:xfrm>
            <a:off x="442914" y="432001"/>
            <a:ext cx="11306175" cy="1387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4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6"/>
          <p:cNvSpPr txBox="1">
            <a:spLocks noGrp="1"/>
          </p:cNvSpPr>
          <p:nvPr>
            <p:ph type="body" idx="1"/>
          </p:nvPr>
        </p:nvSpPr>
        <p:spPr>
          <a:xfrm>
            <a:off x="442914" y="2103438"/>
            <a:ext cx="11306175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36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da-DK" sz="750">
                <a:solidFill>
                  <a:schemeClr val="tx1"/>
                </a:solidFill>
              </a:defRPr>
            </a:lvl1pPr>
          </a:lstStyle>
          <a:p>
            <a:r>
              <a:rPr lang="da-DK"/>
              <a:t>Cyber Agenda 2024</a:t>
            </a:r>
          </a:p>
        </p:txBody>
      </p:sp>
      <p:sp>
        <p:nvSpPr>
          <p:cNvPr id="13" name="Google Shape;13;p36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da-DK" sz="750" smtClean="0">
                <a:solidFill>
                  <a:schemeClr val="tx1"/>
                </a:solidFill>
              </a:defRPr>
            </a:lvl1pPr>
          </a:lstStyle>
          <a:p>
            <a:fld id="{6EF4E746-09C3-4D21-A3C3-742C623B8F82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2" name="PwCFirm">
            <a:extLst>
              <a:ext uri="{FF2B5EF4-FFF2-40B4-BE49-F238E27FC236}">
                <a16:creationId xmlns:a16="http://schemas.microsoft.com/office/drawing/2014/main" id="{7DF00C74-1504-ADC1-B5C7-01B1736334DB}"/>
              </a:ext>
            </a:extLst>
          </p:cNvPr>
          <p:cNvSpPr txBox="1"/>
          <p:nvPr userDrawn="1"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750">
                <a:solidFill>
                  <a:schemeClr val="tx1"/>
                </a:solidFill>
              </a:defRPr>
            </a:lvl1pPr>
          </a:lstStyle>
          <a:p>
            <a:pPr lvl="0" algn="l"/>
            <a:r>
              <a:rPr lang="da-DK"/>
              <a:t>PwC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6DCE11-13FA-ACA6-2268-CB065DB5D4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a-DK" sz="750" smtClean="0"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120">
          <p15:clr>
            <a:srgbClr val="F26B43"/>
          </p15:clr>
        </p15:guide>
        <p15:guide id="2" pos="372">
          <p15:clr>
            <a:srgbClr val="F26B43"/>
          </p15:clr>
        </p15:guide>
        <p15:guide id="3" pos="9868">
          <p15:clr>
            <a:srgbClr val="F26B43"/>
          </p15:clr>
        </p15:guide>
        <p15:guide id="4" pos="5271">
          <p15:clr>
            <a:srgbClr val="F26B43"/>
          </p15:clr>
        </p15:guide>
        <p15:guide id="5" pos="4969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3635">
          <p15:clr>
            <a:srgbClr val="F26B43"/>
          </p15:clr>
        </p15:guide>
        <p15:guide id="8" pos="3336">
          <p15:clr>
            <a:srgbClr val="F26B43"/>
          </p15:clr>
        </p15:guide>
        <p15:guide id="9" pos="6603">
          <p15:clr>
            <a:srgbClr val="F26B43"/>
          </p15:clr>
        </p15:guide>
        <p15:guide id="10" pos="6903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1325">
          <p15:clr>
            <a:srgbClr val="F26B43"/>
          </p15:clr>
        </p15:guide>
        <p15:guide id="13" orient="horz" pos="1146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6000" y="571501"/>
            <a:ext cx="10160000" cy="571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0" y="1714499"/>
            <a:ext cx="10160000" cy="400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, </a:t>
            </a:r>
            <a:r>
              <a:rPr lang="en-US" dirty="0"/>
              <a:t>Header Arial Bold 14</a:t>
            </a:r>
            <a:endParaRPr lang="en-US" noProof="0" dirty="0"/>
          </a:p>
          <a:p>
            <a:pPr lvl="4"/>
            <a:r>
              <a:rPr lang="en-US" noProof="0" dirty="0"/>
              <a:t>Fifth level, </a:t>
            </a:r>
            <a:r>
              <a:rPr lang="en-US" dirty="0"/>
              <a:t>Body Arial 14</a:t>
            </a:r>
            <a:endParaRPr lang="en-US" noProof="0" dirty="0"/>
          </a:p>
          <a:p>
            <a:pPr lvl="5"/>
            <a:r>
              <a:rPr lang="en-US" dirty="0"/>
              <a:t>6 Level, Small Bullet Arial 11</a:t>
            </a:r>
            <a:endParaRPr lang="en-US" noProof="0" dirty="0"/>
          </a:p>
          <a:p>
            <a:pPr lvl="6"/>
            <a:r>
              <a:rPr lang="en-US" noProof="0" dirty="0"/>
              <a:t>7 </a:t>
            </a:r>
            <a:r>
              <a:rPr lang="en-US" dirty="0"/>
              <a:t>Level, Small Header Arial 11</a:t>
            </a:r>
            <a:endParaRPr lang="en-US" noProof="0" dirty="0"/>
          </a:p>
          <a:p>
            <a:pPr lvl="7"/>
            <a:r>
              <a:rPr lang="en-US" noProof="0" dirty="0"/>
              <a:t>8 </a:t>
            </a:r>
            <a:r>
              <a:rPr lang="en-US" dirty="0"/>
              <a:t>Level, Small Body Arial 11</a:t>
            </a:r>
            <a:endParaRPr lang="en-US" noProof="0" dirty="0"/>
          </a:p>
          <a:p>
            <a:pPr lvl="8"/>
            <a:r>
              <a:rPr lang="en-US" noProof="0" dirty="0"/>
              <a:t>9 </a:t>
            </a:r>
            <a:r>
              <a:rPr lang="en-US" dirty="0"/>
              <a:t>Level, Header Arial 28</a:t>
            </a:r>
            <a:endParaRPr lang="en-US" noProof="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2666F9E-5705-3CCC-1440-4054E7CD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0000" y="6159233"/>
            <a:ext cx="1016000" cy="1272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D0EF7201-F92F-4B08-8CD8-21667D0261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642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679" r:id="rId25"/>
    <p:sldLayoutId id="2147483680" r:id="rId26"/>
    <p:sldLayoutId id="2147483681" r:id="rId27"/>
    <p:sldLayoutId id="2147483682" r:id="rId28"/>
    <p:sldLayoutId id="2147483683" r:id="rId29"/>
    <p:sldLayoutId id="2147483684" r:id="rId30"/>
    <p:sldLayoutId id="2147483685" r:id="rId31"/>
    <p:sldLayoutId id="2147483686" r:id="rId32"/>
    <p:sldLayoutId id="2147483687" r:id="rId33"/>
    <p:sldLayoutId id="2147483688" r:id="rId34"/>
    <p:sldLayoutId id="2147483689" r:id="rId35"/>
    <p:sldLayoutId id="2147483690" r:id="rId36"/>
    <p:sldLayoutId id="2147483691" r:id="rId37"/>
    <p:sldLayoutId id="2147483692" r:id="rId38"/>
  </p:sldLayoutIdLst>
  <p:transition spd="slow">
    <p:push/>
  </p:transition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 spc="-18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​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" indent="-108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​"/>
        <a:defRPr sz="11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​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defRPr sz="2800" b="1" kern="1200" spc="-18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40">
          <p15:clr>
            <a:srgbClr val="F26B43"/>
          </p15:clr>
        </p15:guide>
        <p15:guide id="2" pos="1280">
          <p15:clr>
            <a:srgbClr val="A4A3A4"/>
          </p15:clr>
        </p15:guide>
        <p15:guide id="3" orient="horz" pos="360">
          <p15:clr>
            <a:srgbClr val="F26B43"/>
          </p15:clr>
        </p15:guide>
        <p15:guide id="4" orient="horz" pos="3960">
          <p15:clr>
            <a:srgbClr val="F26B43"/>
          </p15:clr>
        </p15:guide>
        <p15:guide id="5" pos="1920">
          <p15:clr>
            <a:srgbClr val="A4A3A4"/>
          </p15:clr>
        </p15:guide>
        <p15:guide id="6" orient="horz" pos="720">
          <p15:clr>
            <a:srgbClr val="A4A3A4"/>
          </p15:clr>
        </p15:guide>
        <p15:guide id="7" orient="horz" pos="3600">
          <p15:clr>
            <a:srgbClr val="A4A3A4"/>
          </p15:clr>
        </p15:guide>
        <p15:guide id="8" pos="2560">
          <p15:clr>
            <a:srgbClr val="A4A3A4"/>
          </p15:clr>
        </p15:guide>
        <p15:guide id="9" orient="horz" pos="1080">
          <p15:clr>
            <a:srgbClr val="A4A3A4"/>
          </p15:clr>
        </p15:guide>
        <p15:guide id="10" orient="horz" pos="3240">
          <p15:clr>
            <a:srgbClr val="A4A3A4"/>
          </p15:clr>
        </p15:guide>
        <p15:guide id="11" pos="3200">
          <p15:clr>
            <a:srgbClr val="A4A3A4"/>
          </p15:clr>
        </p15:guide>
        <p15:guide id="12" orient="horz" pos="1440">
          <p15:clr>
            <a:srgbClr val="A4A3A4"/>
          </p15:clr>
        </p15:guide>
        <p15:guide id="13" orient="horz" pos="2880">
          <p15:clr>
            <a:srgbClr val="A4A3A4"/>
          </p15:clr>
        </p15:guide>
        <p15:guide id="14" pos="3840">
          <p15:clr>
            <a:srgbClr val="A4A3A4"/>
          </p15:clr>
        </p15:guide>
        <p15:guide id="15" orient="horz" pos="1800">
          <p15:clr>
            <a:srgbClr val="A4A3A4"/>
          </p15:clr>
        </p15:guide>
        <p15:guide id="16" orient="horz" pos="2520">
          <p15:clr>
            <a:srgbClr val="A4A3A4"/>
          </p15:clr>
        </p15:guide>
        <p15:guide id="17" pos="4480">
          <p15:clr>
            <a:srgbClr val="A4A3A4"/>
          </p15:clr>
        </p15:guide>
        <p15:guide id="18" orient="horz" pos="2160">
          <p15:clr>
            <a:srgbClr val="A4A3A4"/>
          </p15:clr>
        </p15:guide>
        <p15:guide id="19" pos="5120">
          <p15:clr>
            <a:srgbClr val="A4A3A4"/>
          </p15:clr>
        </p15:guide>
        <p15:guide id="20" pos="5760">
          <p15:clr>
            <a:srgbClr val="A4A3A4"/>
          </p15:clr>
        </p15:guide>
        <p15:guide id="21" pos="6400">
          <p15:clr>
            <a:srgbClr val="A4A3A4"/>
          </p15:clr>
        </p15:guide>
        <p15:guide id="22" pos="70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png"/><Relationship Id="rId5" Type="http://schemas.openxmlformats.org/officeDocument/2006/relationships/image" Target="../media/image21.png"/><Relationship Id="rId4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chart" Target="../charts/chart7.xml"/><Relationship Id="rId3" Type="http://schemas.openxmlformats.org/officeDocument/2006/relationships/slideLayout" Target="../slideLayouts/slideLayout38.xml"/><Relationship Id="rId7" Type="http://schemas.openxmlformats.org/officeDocument/2006/relationships/chart" Target="../charts/chart3.xml"/><Relationship Id="rId12" Type="http://schemas.openxmlformats.org/officeDocument/2006/relationships/chart" Target="../charts/char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11" Type="http://schemas.openxmlformats.org/officeDocument/2006/relationships/chart" Target="../charts/chart5.xml"/><Relationship Id="rId5" Type="http://schemas.openxmlformats.org/officeDocument/2006/relationships/chart" Target="../charts/chart1.xml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3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5" Type="http://schemas.openxmlformats.org/officeDocument/2006/relationships/image" Target="../media/image21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45" name="Google Shape;8445;g1042e732a65_0_3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8446" name="Google Shape;8446;g1042e732a65_0_345"/>
          <p:cNvSpPr/>
          <p:nvPr/>
        </p:nvSpPr>
        <p:spPr>
          <a:xfrm>
            <a:off x="2" y="2809875"/>
            <a:ext cx="7496100" cy="12954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</a:pPr>
            <a:r>
              <a:rPr lang="da-DK" sz="3600" b="0" i="0" u="none" strike="noStrike" cap="none" dirty="0" err="1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Cyberagendaen</a:t>
            </a:r>
            <a:r>
              <a:rPr lang="da-DK" sz="3600" b="0" i="0" u="none" strike="noStrike" cap="none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 2024</a:t>
            </a:r>
            <a:endParaRPr sz="3600" b="0" i="0" u="none" strike="noStrike" cap="none" dirty="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8447" name="Google Shape;8447;g1042e732a65_0_345"/>
          <p:cNvGrpSpPr/>
          <p:nvPr/>
        </p:nvGrpSpPr>
        <p:grpSpPr>
          <a:xfrm>
            <a:off x="0" y="2809875"/>
            <a:ext cx="12192000" cy="1295400"/>
            <a:chOff x="0" y="2809875"/>
            <a:chExt cx="12192000" cy="1295400"/>
          </a:xfrm>
        </p:grpSpPr>
        <p:cxnSp>
          <p:nvCxnSpPr>
            <p:cNvPr id="8448" name="Google Shape;8448;g1042e732a65_0_345"/>
            <p:cNvCxnSpPr/>
            <p:nvPr/>
          </p:nvCxnSpPr>
          <p:spPr>
            <a:xfrm>
              <a:off x="0" y="2809875"/>
              <a:ext cx="12192000" cy="0"/>
            </a:xfrm>
            <a:prstGeom prst="straightConnector1">
              <a:avLst/>
            </a:prstGeom>
            <a:noFill/>
            <a:ln w="571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449" name="Google Shape;8449;g1042e732a65_0_345"/>
            <p:cNvCxnSpPr>
              <a:cxnSpLocks/>
            </p:cNvCxnSpPr>
            <p:nvPr/>
          </p:nvCxnSpPr>
          <p:spPr>
            <a:xfrm>
              <a:off x="0" y="4073525"/>
              <a:ext cx="12192000" cy="31750"/>
            </a:xfrm>
            <a:prstGeom prst="straightConnector1">
              <a:avLst/>
            </a:prstGeom>
            <a:noFill/>
            <a:ln w="571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cxnSp>
        <p:nvCxnSpPr>
          <p:cNvPr id="8450" name="Google Shape;8450;g1042e732a65_0_345"/>
          <p:cNvCxnSpPr>
            <a:cxnSpLocks/>
          </p:cNvCxnSpPr>
          <p:nvPr/>
        </p:nvCxnSpPr>
        <p:spPr>
          <a:xfrm>
            <a:off x="7496175" y="2"/>
            <a:ext cx="0" cy="6857997"/>
          </a:xfrm>
          <a:prstGeom prst="straightConnector1">
            <a:avLst/>
          </a:prstGeom>
          <a:noFill/>
          <a:ln w="571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451" name="Google Shape;8451;g1042e732a65_0_34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1829" y="5191611"/>
            <a:ext cx="1773173" cy="135118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F5D89E-0C92-DE94-70BE-3AB2B7619E3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3A259B9E-3046-492A-827B-6EB02E8C5BD3}" type="slidenum">
              <a:rPr lang="da-DK" smtClean="0"/>
              <a:pPr/>
              <a:t>1</a:t>
            </a:fld>
            <a:endParaRPr lang="da-DK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g29d43c695c9_0_350"/>
          <p:cNvSpPr/>
          <p:nvPr/>
        </p:nvSpPr>
        <p:spPr>
          <a:xfrm flipH="1">
            <a:off x="-175" y="1038225"/>
            <a:ext cx="7179300" cy="8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7" name="Google Shape;177;g29d43c695c9_0_350"/>
          <p:cNvPicPr preferRelativeResize="0"/>
          <p:nvPr/>
        </p:nvPicPr>
        <p:blipFill rotWithShape="1">
          <a:blip r:embed="rId3">
            <a:alphaModFix/>
          </a:blip>
          <a:srcRect b="2238"/>
          <a:stretch/>
        </p:blipFill>
        <p:spPr>
          <a:xfrm>
            <a:off x="354925" y="152550"/>
            <a:ext cx="9379200" cy="6212250"/>
          </a:xfrm>
          <a:prstGeom prst="rect">
            <a:avLst/>
          </a:prstGeom>
          <a:noFill/>
          <a:ln>
            <a:noFill/>
          </a:ln>
        </p:spPr>
      </p:pic>
      <p:sp>
        <p:nvSpPr>
          <p:cNvPr id="178" name="Google Shape;178;g29d43c695c9_0_350"/>
          <p:cNvSpPr txBox="1"/>
          <p:nvPr/>
        </p:nvSpPr>
        <p:spPr>
          <a:xfrm>
            <a:off x="4989475" y="2645675"/>
            <a:ext cx="4064400" cy="3881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accent1"/>
              </a:solidFill>
            </a:endParaRPr>
          </a:p>
        </p:txBody>
      </p:sp>
      <p:sp>
        <p:nvSpPr>
          <p:cNvPr id="179" name="Google Shape;179;g29d43c695c9_0_350"/>
          <p:cNvSpPr txBox="1"/>
          <p:nvPr/>
        </p:nvSpPr>
        <p:spPr>
          <a:xfrm>
            <a:off x="8253975" y="27350"/>
            <a:ext cx="1876800" cy="1801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accent1"/>
              </a:solidFill>
            </a:endParaRPr>
          </a:p>
        </p:txBody>
      </p:sp>
      <p:pic>
        <p:nvPicPr>
          <p:cNvPr id="180" name="Google Shape;180;g29d43c695c9_0_35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193200" y="5661736"/>
            <a:ext cx="1390200" cy="510464"/>
          </a:xfrm>
          <a:prstGeom prst="rect">
            <a:avLst/>
          </a:prstGeom>
          <a:noFill/>
          <a:ln>
            <a:noFill/>
          </a:ln>
        </p:spPr>
      </p:pic>
      <p:sp>
        <p:nvSpPr>
          <p:cNvPr id="181" name="Google Shape;181;g29d43c695c9_0_350"/>
          <p:cNvSpPr txBox="1"/>
          <p:nvPr/>
        </p:nvSpPr>
        <p:spPr>
          <a:xfrm>
            <a:off x="4328825" y="4425700"/>
            <a:ext cx="1390200" cy="2083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accent1"/>
              </a:solidFill>
            </a:endParaRPr>
          </a:p>
        </p:txBody>
      </p:sp>
      <p:pic>
        <p:nvPicPr>
          <p:cNvPr id="182" name="Google Shape;182;g29d43c695c9_0_350"/>
          <p:cNvPicPr preferRelativeResize="0"/>
          <p:nvPr/>
        </p:nvPicPr>
        <p:blipFill rotWithShape="1">
          <a:blip r:embed="rId5">
            <a:alphaModFix/>
          </a:blip>
          <a:srcRect l="8727" r="30875"/>
          <a:stretch/>
        </p:blipFill>
        <p:spPr>
          <a:xfrm>
            <a:off x="8912000" y="0"/>
            <a:ext cx="3280000" cy="6364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3" name="Google Shape;183;g29d43c695c9_0_35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DE00AC-C181-9303-7BE4-C4365CD0616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0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15671E-C1B3-1A2C-9EF3-A73E9133A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8DB0CD-198A-6CB6-9F42-7B433C3FA870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Google Shape;189;g29d43c695c9_0_321"/>
          <p:cNvPicPr preferRelativeResize="0"/>
          <p:nvPr/>
        </p:nvPicPr>
        <p:blipFill rotWithShape="1">
          <a:blip r:embed="rId3">
            <a:alphaModFix/>
          </a:blip>
          <a:srcRect t="16242" b="28248"/>
          <a:stretch/>
        </p:blipFill>
        <p:spPr>
          <a:xfrm>
            <a:off x="-175" y="0"/>
            <a:ext cx="12191999" cy="1823075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g29d43c695c9_0_321"/>
          <p:cNvSpPr/>
          <p:nvPr/>
        </p:nvSpPr>
        <p:spPr>
          <a:xfrm flipH="1">
            <a:off x="-325" y="1038225"/>
            <a:ext cx="4398300" cy="876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" name="Google Shape;194;g29d43c695c9_0_321"/>
          <p:cNvSpPr txBox="1"/>
          <p:nvPr/>
        </p:nvSpPr>
        <p:spPr>
          <a:xfrm>
            <a:off x="222375" y="2426352"/>
            <a:ext cx="3815100" cy="19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a-DK" sz="4000" dirty="0">
                <a:solidFill>
                  <a:schemeClr val="accent4"/>
                </a:solidFill>
              </a:rPr>
              <a:t>51 </a:t>
            </a:r>
            <a:r>
              <a:rPr lang="da-DK" sz="4000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 dirty="0">
              <a:solidFill>
                <a:schemeClr val="accent4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a-DK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f </a:t>
            </a:r>
            <a:r>
              <a:rPr lang="da-DK" sz="2000" dirty="0"/>
              <a:t>virksomhederne fortæller, at </a:t>
            </a:r>
            <a:r>
              <a:rPr lang="da-DK" sz="2000" dirty="0" err="1"/>
              <a:t>awareness</a:t>
            </a:r>
            <a:r>
              <a:rPr lang="da-DK" sz="2000" dirty="0"/>
              <a:t>-træning er deres højest prioriterede investering de næste 12 måneder</a:t>
            </a:r>
            <a:endParaRPr sz="2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g29d43c695c9_0_321"/>
          <p:cNvSpPr/>
          <p:nvPr/>
        </p:nvSpPr>
        <p:spPr>
          <a:xfrm>
            <a:off x="4900950" y="2194775"/>
            <a:ext cx="1390200" cy="8760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96" name="Google Shape;196;g29d43c695c9_0_321"/>
          <p:cNvPicPr preferRelativeResize="0"/>
          <p:nvPr/>
        </p:nvPicPr>
        <p:blipFill rotWithShape="1">
          <a:blip r:embed="rId4">
            <a:alphaModFix/>
          </a:blip>
          <a:srcRect l="5228" t="6942" r="12944"/>
          <a:stretch/>
        </p:blipFill>
        <p:spPr>
          <a:xfrm>
            <a:off x="4728725" y="1038225"/>
            <a:ext cx="7158299" cy="534652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7" name="Google Shape;197;g29d43c695c9_0_321"/>
          <p:cNvGrpSpPr/>
          <p:nvPr/>
        </p:nvGrpSpPr>
        <p:grpSpPr>
          <a:xfrm>
            <a:off x="167847" y="2103450"/>
            <a:ext cx="4318866" cy="2573950"/>
            <a:chOff x="963493" y="1961013"/>
            <a:chExt cx="18867917" cy="2573950"/>
          </a:xfrm>
        </p:grpSpPr>
        <p:cxnSp>
          <p:nvCxnSpPr>
            <p:cNvPr id="198" name="Google Shape;198;g29d43c695c9_0_321"/>
            <p:cNvCxnSpPr/>
            <p:nvPr/>
          </p:nvCxnSpPr>
          <p:spPr>
            <a:xfrm>
              <a:off x="963493" y="1961013"/>
              <a:ext cx="18283200" cy="930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99" name="Google Shape;199;g29d43c695c9_0_321"/>
            <p:cNvSpPr txBox="1"/>
            <p:nvPr/>
          </p:nvSpPr>
          <p:spPr>
            <a:xfrm>
              <a:off x="1201711" y="1976138"/>
              <a:ext cx="18629699" cy="3077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endParaRPr sz="2000" dirty="0">
                <a:solidFill>
                  <a:srgbClr val="DD405F"/>
                </a:solidFill>
              </a:endParaRPr>
            </a:p>
          </p:txBody>
        </p:sp>
        <p:cxnSp>
          <p:nvCxnSpPr>
            <p:cNvPr id="200" name="Google Shape;200;g29d43c695c9_0_321"/>
            <p:cNvCxnSpPr/>
            <p:nvPr/>
          </p:nvCxnSpPr>
          <p:spPr>
            <a:xfrm>
              <a:off x="1123104" y="4525363"/>
              <a:ext cx="18629700" cy="960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201" name="Google Shape;201;g29d43c695c9_0_32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24AE5B-2C5A-2F9E-F7A2-EC66E75C077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2A58C1-B743-97D6-7C6F-03646D0B8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" name="Google Shape;207;g29d43c695c9_0_26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" y="-7549"/>
            <a:ext cx="12192000" cy="1823082"/>
          </a:xfrm>
          <a:prstGeom prst="rect">
            <a:avLst/>
          </a:prstGeom>
          <a:noFill/>
          <a:ln>
            <a:noFill/>
          </a:ln>
        </p:spPr>
      </p:pic>
      <p:sp>
        <p:nvSpPr>
          <p:cNvPr id="208" name="Google Shape;208;g29d43c695c9_0_262"/>
          <p:cNvSpPr/>
          <p:nvPr/>
        </p:nvSpPr>
        <p:spPr>
          <a:xfrm flipH="1">
            <a:off x="0" y="1038225"/>
            <a:ext cx="4398300" cy="944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9" name="Google Shape;209;g29d43c695c9_0_262"/>
          <p:cNvPicPr preferRelativeResize="0"/>
          <p:nvPr/>
        </p:nvPicPr>
        <p:blipFill rotWithShape="1">
          <a:blip r:embed="rId4">
            <a:alphaModFix/>
          </a:blip>
          <a:srcRect t="2095" r="9090"/>
          <a:stretch/>
        </p:blipFill>
        <p:spPr>
          <a:xfrm>
            <a:off x="3293400" y="1517850"/>
            <a:ext cx="6214812" cy="4846950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g29d43c695c9_0_262"/>
          <p:cNvSpPr/>
          <p:nvPr/>
        </p:nvSpPr>
        <p:spPr>
          <a:xfrm>
            <a:off x="3272775" y="2226150"/>
            <a:ext cx="481500" cy="4464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13" name="Google Shape;213;g29d43c695c9_0_262"/>
          <p:cNvPicPr preferRelativeResize="0"/>
          <p:nvPr/>
        </p:nvPicPr>
        <p:blipFill rotWithShape="1">
          <a:blip r:embed="rId5">
            <a:alphaModFix/>
          </a:blip>
          <a:srcRect l="6777" r="16287" b="23483"/>
          <a:stretch/>
        </p:blipFill>
        <p:spPr>
          <a:xfrm>
            <a:off x="9444975" y="1517850"/>
            <a:ext cx="2763025" cy="48469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14" name="Google Shape;214;g29d43c695c9_0_26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-3865511">
            <a:off x="-967084" y="5370158"/>
            <a:ext cx="3297796" cy="32977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5" name="Google Shape;215;g29d43c695c9_0_262"/>
          <p:cNvGrpSpPr/>
          <p:nvPr/>
        </p:nvGrpSpPr>
        <p:grpSpPr>
          <a:xfrm>
            <a:off x="304725" y="2298452"/>
            <a:ext cx="3449636" cy="3135969"/>
            <a:chOff x="613659" y="2734392"/>
            <a:chExt cx="6888251" cy="3668230"/>
          </a:xfrm>
        </p:grpSpPr>
        <p:cxnSp>
          <p:nvCxnSpPr>
            <p:cNvPr id="216" name="Google Shape;216;g29d43c695c9_0_262"/>
            <p:cNvCxnSpPr/>
            <p:nvPr/>
          </p:nvCxnSpPr>
          <p:spPr>
            <a:xfrm>
              <a:off x="622310" y="2734392"/>
              <a:ext cx="6879600" cy="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17" name="Google Shape;217;g29d43c695c9_0_262"/>
            <p:cNvSpPr txBox="1"/>
            <p:nvPr/>
          </p:nvSpPr>
          <p:spPr>
            <a:xfrm>
              <a:off x="613659" y="2819722"/>
              <a:ext cx="6596700" cy="3582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lvl="0" indent="0" algn="l" rtl="0">
                <a:spcBef>
                  <a:spcPts val="60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da-DK" sz="2000" dirty="0">
                  <a:solidFill>
                    <a:srgbClr val="DD405F"/>
                  </a:solidFill>
                </a:rPr>
                <a:t>Stadig flere virksomheder forventer at øge investeringerne i </a:t>
              </a:r>
              <a:r>
                <a:rPr lang="da-DK" sz="2000" dirty="0" err="1">
                  <a:solidFill>
                    <a:srgbClr val="DD405F"/>
                  </a:solidFill>
                </a:rPr>
                <a:t>cyber</a:t>
              </a:r>
              <a:r>
                <a:rPr lang="da-DK" sz="2000" dirty="0">
                  <a:solidFill>
                    <a:srgbClr val="DD405F"/>
                  </a:solidFill>
                </a:rPr>
                <a:t>- og informationssikkerhed, og årets Cybercrime </a:t>
              </a:r>
              <a:r>
                <a:rPr lang="da-DK" sz="2000" dirty="0" err="1">
                  <a:solidFill>
                    <a:srgbClr val="DD405F"/>
                  </a:solidFill>
                </a:rPr>
                <a:t>Survey</a:t>
              </a:r>
              <a:r>
                <a:rPr lang="da-DK" sz="2000" dirty="0">
                  <a:solidFill>
                    <a:srgbClr val="DD405F"/>
                  </a:solidFill>
                </a:rPr>
                <a:t> tydeliggør, at </a:t>
              </a:r>
              <a:r>
                <a:rPr lang="da-DK" sz="2000" dirty="0" err="1">
                  <a:solidFill>
                    <a:srgbClr val="DD405F"/>
                  </a:solidFill>
                </a:rPr>
                <a:t>cybersikkerhed</a:t>
              </a:r>
              <a:r>
                <a:rPr lang="da-DK" sz="2000" dirty="0">
                  <a:solidFill>
                    <a:srgbClr val="DD405F"/>
                  </a:solidFill>
                </a:rPr>
                <a:t> fortsat er i hastig udvikling og står højt på virksomhedernes liste over prioriteringer.</a:t>
              </a:r>
              <a:endParaRPr sz="2000" dirty="0">
                <a:solidFill>
                  <a:srgbClr val="DD405F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endParaRPr dirty="0">
                <a:solidFill>
                  <a:srgbClr val="DD405F"/>
                </a:solidFill>
              </a:endParaRPr>
            </a:p>
          </p:txBody>
        </p:sp>
        <p:cxnSp>
          <p:nvCxnSpPr>
            <p:cNvPr id="218" name="Google Shape;218;g29d43c695c9_0_262"/>
            <p:cNvCxnSpPr/>
            <p:nvPr/>
          </p:nvCxnSpPr>
          <p:spPr>
            <a:xfrm rot="10800000" flipH="1">
              <a:off x="622310" y="6135558"/>
              <a:ext cx="6413400" cy="1530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219" name="Google Shape;219;g29d43c695c9_0_26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220" name="Google Shape;220;g29d43c695c9_0_262"/>
          <p:cNvSpPr/>
          <p:nvPr/>
        </p:nvSpPr>
        <p:spPr>
          <a:xfrm>
            <a:off x="12013075" y="1517850"/>
            <a:ext cx="195000" cy="1101900"/>
          </a:xfrm>
          <a:prstGeom prst="rect">
            <a:avLst/>
          </a:prstGeom>
          <a:solidFill>
            <a:srgbClr val="F09E41"/>
          </a:solidFill>
          <a:ln w="9525" cap="flat" cmpd="sng">
            <a:solidFill>
              <a:srgbClr val="F09E4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1" name="Google Shape;221;g29d43c695c9_0_262"/>
          <p:cNvSpPr txBox="1"/>
          <p:nvPr/>
        </p:nvSpPr>
        <p:spPr>
          <a:xfrm>
            <a:off x="304725" y="1168600"/>
            <a:ext cx="3989400" cy="140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2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To ud af tre virksomheder forventer at øge investeringerne i cybersikkerhed</a:t>
            </a:r>
            <a:endParaRPr sz="220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22" name="Google Shape;222;g29d43c695c9_0_262"/>
          <p:cNvSpPr/>
          <p:nvPr/>
        </p:nvSpPr>
        <p:spPr>
          <a:xfrm>
            <a:off x="-1965575" y="2103450"/>
            <a:ext cx="685800" cy="5691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3F6215B-43B1-E2CF-152E-4CBDB327268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A0D336-CCB7-08E8-BE64-A32E508C5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B72815-C770-5429-2F4A-0094DFB4AD2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15"/>
          <p:cNvSpPr/>
          <p:nvPr/>
        </p:nvSpPr>
        <p:spPr>
          <a:xfrm>
            <a:off x="0" y="0"/>
            <a:ext cx="12192000" cy="2214900"/>
          </a:xfrm>
          <a:prstGeom prst="rect">
            <a:avLst/>
          </a:prstGeom>
          <a:solidFill>
            <a:srgbClr val="E0E0E1"/>
          </a:solidFill>
          <a:ln w="9525" cap="flat" cmpd="sng">
            <a:solidFill>
              <a:srgbClr val="E0E0E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8" name="Google Shape;248;p15"/>
          <p:cNvSpPr txBox="1"/>
          <p:nvPr/>
        </p:nvSpPr>
        <p:spPr>
          <a:xfrm>
            <a:off x="2171150" y="2601638"/>
            <a:ext cx="48585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DD405F"/>
              </a:solidFill>
            </a:endParaRPr>
          </a:p>
        </p:txBody>
      </p:sp>
      <p:grpSp>
        <p:nvGrpSpPr>
          <p:cNvPr id="250" name="Google Shape;250;p15"/>
          <p:cNvGrpSpPr/>
          <p:nvPr/>
        </p:nvGrpSpPr>
        <p:grpSpPr>
          <a:xfrm>
            <a:off x="6327978" y="-358340"/>
            <a:ext cx="2039606" cy="2981118"/>
            <a:chOff x="239755" y="4818102"/>
            <a:chExt cx="3313200" cy="2981118"/>
          </a:xfrm>
        </p:grpSpPr>
        <p:cxnSp>
          <p:nvCxnSpPr>
            <p:cNvPr id="251" name="Google Shape;251;p15"/>
            <p:cNvCxnSpPr/>
            <p:nvPr/>
          </p:nvCxnSpPr>
          <p:spPr>
            <a:xfrm>
              <a:off x="239755" y="4818102"/>
              <a:ext cx="33132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52" name="Google Shape;252;p15"/>
            <p:cNvCxnSpPr/>
            <p:nvPr/>
          </p:nvCxnSpPr>
          <p:spPr>
            <a:xfrm>
              <a:off x="239755" y="7799220"/>
              <a:ext cx="33132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253" name="Google Shape;253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54" name="Google Shape;254;p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92774" y="2214959"/>
            <a:ext cx="10606459" cy="39424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5" name="Google Shape;255;p15"/>
          <p:cNvGrpSpPr/>
          <p:nvPr/>
        </p:nvGrpSpPr>
        <p:grpSpPr>
          <a:xfrm>
            <a:off x="924054" y="479874"/>
            <a:ext cx="9279611" cy="1304718"/>
            <a:chOff x="239755" y="4894302"/>
            <a:chExt cx="3313200" cy="1304718"/>
          </a:xfrm>
        </p:grpSpPr>
        <p:cxnSp>
          <p:nvCxnSpPr>
            <p:cNvPr id="256" name="Google Shape;256;p15"/>
            <p:cNvCxnSpPr/>
            <p:nvPr/>
          </p:nvCxnSpPr>
          <p:spPr>
            <a:xfrm>
              <a:off x="239755" y="4894302"/>
              <a:ext cx="33132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57" name="Google Shape;257;p15"/>
            <p:cNvCxnSpPr/>
            <p:nvPr/>
          </p:nvCxnSpPr>
          <p:spPr>
            <a:xfrm>
              <a:off x="239755" y="6199020"/>
              <a:ext cx="33132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C5DA367-46AD-1138-FC4F-00963D529936}"/>
              </a:ext>
            </a:extLst>
          </p:cNvPr>
          <p:cNvSpPr txBox="1"/>
          <p:nvPr/>
        </p:nvSpPr>
        <p:spPr>
          <a:xfrm>
            <a:off x="792774" y="576604"/>
            <a:ext cx="804642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2000" dirty="0">
                <a:solidFill>
                  <a:srgbClr val="DD405F"/>
                </a:solidFill>
              </a:rPr>
              <a:t>23 % af de større virksomheder fortæller, at de i dag anvender AI i arbejdet med </a:t>
            </a:r>
            <a:r>
              <a:rPr lang="da-DK" sz="2000" dirty="0" err="1">
                <a:solidFill>
                  <a:srgbClr val="DD405F"/>
                </a:solidFill>
              </a:rPr>
              <a:t>cybersikkerhed</a:t>
            </a:r>
            <a:r>
              <a:rPr lang="da-DK" sz="2000" dirty="0">
                <a:solidFill>
                  <a:srgbClr val="DD405F"/>
                </a:solidFill>
              </a:rPr>
              <a:t>, og yderligere 31 % har planer om at anvende AI i fremtiden. </a:t>
            </a:r>
            <a:endParaRPr lang="da-DK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C3EE6F-F891-9FD8-733B-5CF8A8238E8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CAD578-2AAA-B054-230E-09366288B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36A229-0DB0-E8E8-D2BB-C5FCC569C2CB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" name="Google Shape;761;p2"/>
          <p:cNvSpPr/>
          <p:nvPr/>
        </p:nvSpPr>
        <p:spPr>
          <a:xfrm>
            <a:off x="-119751" y="0"/>
            <a:ext cx="7448763" cy="6858000"/>
          </a:xfrm>
          <a:prstGeom prst="rect">
            <a:avLst/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2" name="Google Shape;762;p2"/>
          <p:cNvSpPr txBox="1">
            <a:spLocks noGrp="1"/>
          </p:cNvSpPr>
          <p:nvPr>
            <p:ph type="title"/>
          </p:nvPr>
        </p:nvSpPr>
        <p:spPr>
          <a:xfrm>
            <a:off x="946767" y="2593910"/>
            <a:ext cx="4138417" cy="14399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da-DK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Ny lovgivning kræver et fornyet fokus fra virksomhederne</a:t>
            </a:r>
            <a:endParaRPr dirty="0"/>
          </a:p>
        </p:txBody>
      </p:sp>
      <p:sp>
        <p:nvSpPr>
          <p:cNvPr id="785" name="Google Shape;785;p2"/>
          <p:cNvSpPr/>
          <p:nvPr/>
        </p:nvSpPr>
        <p:spPr>
          <a:xfrm>
            <a:off x="334537" y="6390042"/>
            <a:ext cx="728554" cy="320177"/>
          </a:xfrm>
          <a:prstGeom prst="rect">
            <a:avLst/>
          </a:prstGeom>
          <a:solidFill>
            <a:srgbClr val="3B3B3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86" name="Google Shape;786;p2"/>
          <p:cNvPicPr preferRelativeResize="0"/>
          <p:nvPr/>
        </p:nvPicPr>
        <p:blipFill rotWithShape="1">
          <a:blip r:embed="rId3">
            <a:alphaModFix/>
          </a:blip>
          <a:srcRect l="11030" r="31526"/>
          <a:stretch/>
        </p:blipFill>
        <p:spPr>
          <a:xfrm>
            <a:off x="6238875" y="-2"/>
            <a:ext cx="595312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87" name="Google Shape;787;p2"/>
          <p:cNvSpPr/>
          <p:nvPr/>
        </p:nvSpPr>
        <p:spPr>
          <a:xfrm>
            <a:off x="6260335" y="-1034"/>
            <a:ext cx="5916612" cy="6858000"/>
          </a:xfrm>
          <a:prstGeom prst="rect">
            <a:avLst/>
          </a:prstGeom>
          <a:solidFill>
            <a:srgbClr val="3B3B3B">
              <a:alpha val="14901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g29d43c695c9_0_131"/>
          <p:cNvSpPr/>
          <p:nvPr/>
        </p:nvSpPr>
        <p:spPr>
          <a:xfrm>
            <a:off x="9096975" y="2757025"/>
            <a:ext cx="1923900" cy="36042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4" name="Google Shape;284;g29d43c695c9_0_131"/>
          <p:cNvSpPr/>
          <p:nvPr/>
        </p:nvSpPr>
        <p:spPr>
          <a:xfrm flipH="1">
            <a:off x="-112" y="1038225"/>
            <a:ext cx="5399700" cy="876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g29d43c695c9_0_131"/>
          <p:cNvSpPr txBox="1"/>
          <p:nvPr/>
        </p:nvSpPr>
        <p:spPr>
          <a:xfrm rot="-8544139">
            <a:off x="10521606" y="836307"/>
            <a:ext cx="2305146" cy="5081787"/>
          </a:xfrm>
          <a:prstGeom prst="rect">
            <a:avLst/>
          </a:prstGeom>
          <a:solidFill>
            <a:srgbClr val="414042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accent1"/>
              </a:solidFill>
            </a:endParaRPr>
          </a:p>
        </p:txBody>
      </p:sp>
      <p:sp>
        <p:nvSpPr>
          <p:cNvPr id="286" name="Google Shape;286;g29d43c695c9_0_131"/>
          <p:cNvSpPr txBox="1"/>
          <p:nvPr/>
        </p:nvSpPr>
        <p:spPr>
          <a:xfrm rot="-5398392">
            <a:off x="9986050" y="3911125"/>
            <a:ext cx="1923600" cy="2976600"/>
          </a:xfrm>
          <a:prstGeom prst="rect">
            <a:avLst/>
          </a:prstGeom>
          <a:solidFill>
            <a:srgbClr val="414042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accent1"/>
              </a:solidFill>
            </a:endParaRPr>
          </a:p>
        </p:txBody>
      </p:sp>
      <p:pic>
        <p:nvPicPr>
          <p:cNvPr id="287" name="Google Shape;287;g29d43c695c9_0_13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88" name="Google Shape;288;g29d43c695c9_0_131"/>
          <p:cNvPicPr preferRelativeResize="0"/>
          <p:nvPr/>
        </p:nvPicPr>
        <p:blipFill rotWithShape="1">
          <a:blip r:embed="rId4">
            <a:alphaModFix/>
          </a:blip>
          <a:srcRect t="43330"/>
          <a:stretch/>
        </p:blipFill>
        <p:spPr>
          <a:xfrm>
            <a:off x="815376" y="2756328"/>
            <a:ext cx="8773121" cy="3604898"/>
          </a:xfrm>
          <a:prstGeom prst="rect">
            <a:avLst/>
          </a:prstGeom>
          <a:noFill/>
          <a:ln>
            <a:noFill/>
          </a:ln>
        </p:spPr>
      </p:pic>
      <p:sp>
        <p:nvSpPr>
          <p:cNvPr id="289" name="Google Shape;289;g29d43c695c9_0_131"/>
          <p:cNvSpPr/>
          <p:nvPr/>
        </p:nvSpPr>
        <p:spPr>
          <a:xfrm>
            <a:off x="0" y="2757025"/>
            <a:ext cx="815400" cy="36042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0BAF9E-9044-944A-93FB-3111D1460D2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5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93EAD5-AD45-D980-0A79-937209726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D406A6-7960-732B-E13D-3E72374ACE79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EDD588-1BF6-5D77-D98D-EF591EFE97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376" y="330160"/>
            <a:ext cx="4958833" cy="194226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g29d43c695c9_0_152"/>
          <p:cNvSpPr/>
          <p:nvPr/>
        </p:nvSpPr>
        <p:spPr>
          <a:xfrm flipH="1">
            <a:off x="-112" y="1038225"/>
            <a:ext cx="5399700" cy="876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98" name="Google Shape;298;g29d43c695c9_0_152"/>
          <p:cNvPicPr preferRelativeResize="0"/>
          <p:nvPr/>
        </p:nvPicPr>
        <p:blipFill rotWithShape="1">
          <a:blip r:embed="rId3">
            <a:alphaModFix/>
          </a:blip>
          <a:srcRect t="19409" b="2324"/>
          <a:stretch/>
        </p:blipFill>
        <p:spPr>
          <a:xfrm>
            <a:off x="0" y="0"/>
            <a:ext cx="12191999" cy="6361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99" name="Google Shape;299;g29d43c695c9_0_15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F23788-D8C4-A53B-9A6C-168D0838BFC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6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B78603-DE79-3A6F-71C8-EB75D66F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6BB96F-A5F4-10BB-5C24-2757958EB57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4" name="Google Shape;324;g29d43c695c9_0_174"/>
          <p:cNvPicPr preferRelativeResize="0"/>
          <p:nvPr/>
        </p:nvPicPr>
        <p:blipFill rotWithShape="1">
          <a:blip r:embed="rId3">
            <a:alphaModFix/>
          </a:blip>
          <a:srcRect t="48615"/>
          <a:stretch/>
        </p:blipFill>
        <p:spPr>
          <a:xfrm>
            <a:off x="1916150" y="2856600"/>
            <a:ext cx="10275851" cy="3504626"/>
          </a:xfrm>
          <a:prstGeom prst="rect">
            <a:avLst/>
          </a:prstGeom>
          <a:noFill/>
          <a:ln>
            <a:noFill/>
          </a:ln>
        </p:spPr>
      </p:pic>
      <p:pic>
        <p:nvPicPr>
          <p:cNvPr id="325" name="Google Shape;325;g29d43c695c9_0_174"/>
          <p:cNvPicPr preferRelativeResize="0"/>
          <p:nvPr/>
        </p:nvPicPr>
        <p:blipFill rotWithShape="1">
          <a:blip r:embed="rId4">
            <a:alphaModFix/>
          </a:blip>
          <a:srcRect l="66575" t="3081"/>
          <a:stretch/>
        </p:blipFill>
        <p:spPr>
          <a:xfrm>
            <a:off x="0" y="0"/>
            <a:ext cx="1916150" cy="6361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326" name="Google Shape;326;g29d43c695c9_0_17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10104254">
            <a:off x="-1827283" y="-1802434"/>
            <a:ext cx="3508568" cy="3508568"/>
          </a:xfrm>
          <a:prstGeom prst="rect">
            <a:avLst/>
          </a:prstGeom>
          <a:noFill/>
          <a:ln>
            <a:noFill/>
          </a:ln>
        </p:spPr>
      </p:pic>
      <p:sp>
        <p:nvSpPr>
          <p:cNvPr id="327" name="Google Shape;327;g29d43c695c9_0_174"/>
          <p:cNvSpPr/>
          <p:nvPr/>
        </p:nvSpPr>
        <p:spPr>
          <a:xfrm>
            <a:off x="1916150" y="0"/>
            <a:ext cx="10275900" cy="2929200"/>
          </a:xfrm>
          <a:prstGeom prst="rect">
            <a:avLst/>
          </a:prstGeom>
          <a:solidFill>
            <a:srgbClr val="DCDDDE"/>
          </a:solidFill>
          <a:ln w="9525" cap="flat" cmpd="sng">
            <a:solidFill>
              <a:srgbClr val="DCDDD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28" name="Google Shape;328;g29d43c695c9_0_174"/>
          <p:cNvPicPr preferRelativeResize="0"/>
          <p:nvPr/>
        </p:nvPicPr>
        <p:blipFill rotWithShape="1">
          <a:blip r:embed="rId6">
            <a:alphaModFix/>
          </a:blip>
          <a:srcRect l="4200" t="13152" r="10606" b="8465"/>
          <a:stretch/>
        </p:blipFill>
        <p:spPr>
          <a:xfrm>
            <a:off x="1964625" y="59500"/>
            <a:ext cx="7485319" cy="26813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29" name="Google Shape;329;g29d43c695c9_0_174"/>
          <p:cNvGrpSpPr/>
          <p:nvPr/>
        </p:nvGrpSpPr>
        <p:grpSpPr>
          <a:xfrm>
            <a:off x="8772640" y="174926"/>
            <a:ext cx="3162781" cy="2681385"/>
            <a:chOff x="239755" y="4894302"/>
            <a:chExt cx="3313200" cy="1914318"/>
          </a:xfrm>
        </p:grpSpPr>
        <p:cxnSp>
          <p:nvCxnSpPr>
            <p:cNvPr id="330" name="Google Shape;330;g29d43c695c9_0_174"/>
            <p:cNvCxnSpPr/>
            <p:nvPr/>
          </p:nvCxnSpPr>
          <p:spPr>
            <a:xfrm>
              <a:off x="239755" y="4894302"/>
              <a:ext cx="33132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331" name="Google Shape;331;g29d43c695c9_0_174"/>
            <p:cNvCxnSpPr/>
            <p:nvPr/>
          </p:nvCxnSpPr>
          <p:spPr>
            <a:xfrm>
              <a:off x="239755" y="6808620"/>
              <a:ext cx="33132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332" name="Google Shape;332;g29d43c695c9_0_174"/>
          <p:cNvSpPr/>
          <p:nvPr/>
        </p:nvSpPr>
        <p:spPr>
          <a:xfrm>
            <a:off x="7373000" y="2353175"/>
            <a:ext cx="4710300" cy="728400"/>
          </a:xfrm>
          <a:prstGeom prst="rect">
            <a:avLst/>
          </a:prstGeom>
          <a:solidFill>
            <a:srgbClr val="DCDDDE"/>
          </a:solidFill>
          <a:ln w="9525" cap="flat" cmpd="sng">
            <a:solidFill>
              <a:srgbClr val="DCDDD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3" name="Google Shape;333;g29d43c695c9_0_174"/>
          <p:cNvSpPr txBox="1"/>
          <p:nvPr/>
        </p:nvSpPr>
        <p:spPr>
          <a:xfrm>
            <a:off x="8832150" y="240600"/>
            <a:ext cx="3251100" cy="261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a-DK" sz="4000">
                <a:solidFill>
                  <a:schemeClr val="accent4"/>
                </a:solidFill>
              </a:rPr>
              <a:t>12 </a:t>
            </a:r>
            <a:r>
              <a:rPr lang="da-DK" sz="400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000">
                <a:solidFill>
                  <a:schemeClr val="dk1"/>
                </a:solidFill>
              </a:rPr>
              <a:t>af CXO’erne, CISO’erne og it-sikkerhedsspecialisterne fortæller, at de ikke kan fastslå, om de er omfattet af DORA</a:t>
            </a:r>
            <a:endParaRPr sz="2000">
              <a:solidFill>
                <a:schemeClr val="dk1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endParaRPr sz="2000">
              <a:solidFill>
                <a:schemeClr val="dk1"/>
              </a:solidFill>
            </a:endParaRPr>
          </a:p>
        </p:txBody>
      </p:sp>
      <p:cxnSp>
        <p:nvCxnSpPr>
          <p:cNvPr id="334" name="Google Shape;334;g29d43c695c9_0_174"/>
          <p:cNvCxnSpPr/>
          <p:nvPr/>
        </p:nvCxnSpPr>
        <p:spPr>
          <a:xfrm>
            <a:off x="8784571" y="2537090"/>
            <a:ext cx="3162900" cy="0"/>
          </a:xfrm>
          <a:prstGeom prst="straightConnector1">
            <a:avLst/>
          </a:prstGeom>
          <a:noFill/>
          <a:ln w="10150" cap="sq" cmpd="sng">
            <a:solidFill>
              <a:srgbClr val="DB3A6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58108C-75AC-E5D9-07DF-76C35604614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7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4D7E85-3036-1A63-1B37-C716ACF97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B25ADC-2BD4-FDFD-6BE9-74EA56C99E5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34DEB2-69A2-032C-5C49-D656FE868CB2}"/>
              </a:ext>
            </a:extLst>
          </p:cNvPr>
          <p:cNvSpPr txBox="1"/>
          <p:nvPr/>
        </p:nvSpPr>
        <p:spPr>
          <a:xfrm>
            <a:off x="1916100" y="4105257"/>
            <a:ext cx="2249499" cy="906249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a-DK" sz="2800" b="1" dirty="0"/>
              <a:t>DORA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p23"/>
          <p:cNvSpPr txBox="1"/>
          <p:nvPr/>
        </p:nvSpPr>
        <p:spPr>
          <a:xfrm>
            <a:off x="-4025" y="4780750"/>
            <a:ext cx="12192000" cy="1580400"/>
          </a:xfrm>
          <a:prstGeom prst="rect">
            <a:avLst/>
          </a:prstGeom>
          <a:solidFill>
            <a:srgbClr val="DCDDDE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accent1"/>
              </a:solidFill>
            </a:endParaRPr>
          </a:p>
        </p:txBody>
      </p:sp>
      <p:pic>
        <p:nvPicPr>
          <p:cNvPr id="341" name="Google Shape;341;p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"/>
            <a:ext cx="12187850" cy="1823083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23"/>
          <p:cNvSpPr/>
          <p:nvPr/>
        </p:nvSpPr>
        <p:spPr>
          <a:xfrm flipH="1">
            <a:off x="125" y="1340000"/>
            <a:ext cx="6695400" cy="574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5" name="Google Shape;345;p23"/>
          <p:cNvSpPr txBox="1"/>
          <p:nvPr/>
        </p:nvSpPr>
        <p:spPr>
          <a:xfrm>
            <a:off x="304775" y="1421800"/>
            <a:ext cx="4858500" cy="140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2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Knap hver anden virksomhed har svært ved at rekruttere medarbejdere inden for cybersikkerhed</a:t>
            </a:r>
            <a:endParaRPr sz="220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346" name="Google Shape;346;p23"/>
          <p:cNvGrpSpPr/>
          <p:nvPr/>
        </p:nvGrpSpPr>
        <p:grpSpPr>
          <a:xfrm>
            <a:off x="304782" y="2633438"/>
            <a:ext cx="4895209" cy="1639737"/>
            <a:chOff x="304779" y="1952013"/>
            <a:chExt cx="10373403" cy="1639737"/>
          </a:xfrm>
        </p:grpSpPr>
        <p:cxnSp>
          <p:nvCxnSpPr>
            <p:cNvPr id="347" name="Google Shape;347;p23"/>
            <p:cNvCxnSpPr/>
            <p:nvPr/>
          </p:nvCxnSpPr>
          <p:spPr>
            <a:xfrm rot="10800000" flipH="1">
              <a:off x="304779" y="1952013"/>
              <a:ext cx="10334400" cy="900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48" name="Google Shape;348;p23"/>
            <p:cNvSpPr txBox="1"/>
            <p:nvPr/>
          </p:nvSpPr>
          <p:spPr>
            <a:xfrm>
              <a:off x="305082" y="2052450"/>
              <a:ext cx="10373100" cy="153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da-DK" sz="2000">
                  <a:solidFill>
                    <a:srgbClr val="DD405F"/>
                  </a:solidFill>
                </a:rPr>
                <a:t>Der er stor mangel på kvalificeret arbejdskraft i Danmark, hvilket også har betydning for virksomhedernes muligheder for at ruste sig på cybersikkerhedsområdet.</a:t>
              </a:r>
              <a:endParaRPr sz="2000">
                <a:solidFill>
                  <a:srgbClr val="DD405F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2000">
                <a:solidFill>
                  <a:srgbClr val="DD405F"/>
                </a:solidFill>
              </a:endParaRPr>
            </a:p>
          </p:txBody>
        </p:sp>
        <p:cxnSp>
          <p:nvCxnSpPr>
            <p:cNvPr id="349" name="Google Shape;349;p23"/>
            <p:cNvCxnSpPr/>
            <p:nvPr/>
          </p:nvCxnSpPr>
          <p:spPr>
            <a:xfrm rot="10800000" flipH="1">
              <a:off x="304779" y="3375510"/>
              <a:ext cx="10373100" cy="1350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350" name="Google Shape;350;p2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8475" y="4780750"/>
            <a:ext cx="6552220" cy="1477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1" name="Google Shape;351;p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794525" y="5180800"/>
            <a:ext cx="5163599" cy="1154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2" name="Google Shape;352;p2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p2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492500" y="1340001"/>
            <a:ext cx="6695351" cy="339797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18BC90-CF2A-3EC4-1D24-8B8A9BCD76B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8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E9DA62-9447-1007-90AD-0C8E92B0A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ED2DBD-5F51-884B-FE26-2261EBE71663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" name="Google Shape;359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"/>
            <a:ext cx="12191999" cy="1823083"/>
          </a:xfrm>
          <a:prstGeom prst="rect">
            <a:avLst/>
          </a:prstGeom>
          <a:noFill/>
          <a:ln>
            <a:noFill/>
          </a:ln>
        </p:spPr>
      </p:pic>
      <p:sp>
        <p:nvSpPr>
          <p:cNvPr id="362" name="Google Shape;362;p26"/>
          <p:cNvSpPr txBox="1"/>
          <p:nvPr/>
        </p:nvSpPr>
        <p:spPr>
          <a:xfrm>
            <a:off x="304775" y="2006800"/>
            <a:ext cx="5465700" cy="101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2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Bestyrelsens fokus på cyberkriminalitet stiger, men der er stadig plads til forbedringer</a:t>
            </a:r>
            <a:endParaRPr sz="220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365" name="Google Shape;365;p26"/>
          <p:cNvCxnSpPr/>
          <p:nvPr/>
        </p:nvCxnSpPr>
        <p:spPr>
          <a:xfrm rot="10800000" flipH="1">
            <a:off x="304790" y="5157336"/>
            <a:ext cx="5334035" cy="7200"/>
          </a:xfrm>
          <a:prstGeom prst="straightConnector1">
            <a:avLst/>
          </a:prstGeom>
          <a:noFill/>
          <a:ln w="10150" cap="sq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66" name="Google Shape;366;p26"/>
          <p:cNvCxnSpPr/>
          <p:nvPr/>
        </p:nvCxnSpPr>
        <p:spPr>
          <a:xfrm rot="10800000" flipH="1">
            <a:off x="304790" y="3328536"/>
            <a:ext cx="5297400" cy="7200"/>
          </a:xfrm>
          <a:prstGeom prst="straightConnector1">
            <a:avLst/>
          </a:prstGeom>
          <a:noFill/>
          <a:ln w="10150" cap="sq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67" name="Google Shape;367;p26"/>
          <p:cNvSpPr txBox="1"/>
          <p:nvPr/>
        </p:nvSpPr>
        <p:spPr>
          <a:xfrm>
            <a:off x="6309350" y="2268925"/>
            <a:ext cx="5297400" cy="1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>
              <a:solidFill>
                <a:schemeClr val="dk1"/>
              </a:solidFill>
            </a:endParaRPr>
          </a:p>
        </p:txBody>
      </p:sp>
      <p:pic>
        <p:nvPicPr>
          <p:cNvPr id="368" name="Google Shape;368;p2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226500" y="701600"/>
            <a:ext cx="5751175" cy="56909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69" name="Google Shape;369;p2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pic>
        <p:nvPicPr>
          <p:cNvPr id="370" name="Google Shape;370;p2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3865511">
            <a:off x="-967084" y="5370158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469C81-7409-2ABC-EA88-2A701EE748D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19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87C367-3F17-3C63-650A-2A254F617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3C2A7-65C0-41B9-8B47-D9646B3C9441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  <p:sp>
        <p:nvSpPr>
          <p:cNvPr id="5" name="Google Shape;387;g29f80944e25_0_47">
            <a:extLst>
              <a:ext uri="{FF2B5EF4-FFF2-40B4-BE49-F238E27FC236}">
                <a16:creationId xmlns:a16="http://schemas.microsoft.com/office/drawing/2014/main" id="{EB607EC7-71F4-7AE5-EC56-82CB134CBCB5}"/>
              </a:ext>
            </a:extLst>
          </p:cNvPr>
          <p:cNvSpPr txBox="1"/>
          <p:nvPr/>
        </p:nvSpPr>
        <p:spPr>
          <a:xfrm>
            <a:off x="313828" y="3408119"/>
            <a:ext cx="4276278" cy="1615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a-DK" sz="4000" dirty="0">
                <a:solidFill>
                  <a:schemeClr val="accent4"/>
                </a:solidFill>
              </a:rPr>
              <a:t>47 </a:t>
            </a:r>
            <a:r>
              <a:rPr lang="da-DK" sz="4000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 dirty="0">
              <a:solidFill>
                <a:schemeClr val="accent4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da-DK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f </a:t>
            </a:r>
            <a:r>
              <a:rPr lang="da-DK" sz="2000" dirty="0"/>
              <a:t>bestyrelsesmedlemmerne modtager ikke træning i </a:t>
            </a:r>
            <a:r>
              <a:rPr lang="da-DK" sz="2000" dirty="0" err="1"/>
              <a:t>cyber</a:t>
            </a:r>
            <a:r>
              <a:rPr lang="da-DK" sz="2000" dirty="0"/>
              <a:t>- og informationssikkerhed</a:t>
            </a:r>
            <a:endParaRPr sz="2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CA1C94-3961-9DFB-3EFB-1CCFCCBAA906}"/>
              </a:ext>
            </a:extLst>
          </p:cNvPr>
          <p:cNvSpPr/>
          <p:nvPr/>
        </p:nvSpPr>
        <p:spPr>
          <a:xfrm>
            <a:off x="9010147" y="2390116"/>
            <a:ext cx="2663228" cy="357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A4323D-66F9-A399-5812-E322DE971CEA}"/>
              </a:ext>
            </a:extLst>
          </p:cNvPr>
          <p:cNvSpPr/>
          <p:nvPr/>
        </p:nvSpPr>
        <p:spPr>
          <a:xfrm>
            <a:off x="181069" y="2390116"/>
            <a:ext cx="6717672" cy="3578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48" name="Google Shape;48;p2"/>
          <p:cNvPicPr preferRelativeResize="0"/>
          <p:nvPr/>
        </p:nvPicPr>
        <p:blipFill rotWithShape="1">
          <a:blip r:embed="rId3">
            <a:alphaModFix/>
          </a:blip>
          <a:srcRect l="70384" r="10347"/>
          <a:stretch/>
        </p:blipFill>
        <p:spPr>
          <a:xfrm rot="-5400000">
            <a:off x="5190075" y="-5200551"/>
            <a:ext cx="1816600" cy="12217701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49;p2"/>
          <p:cNvSpPr txBox="1"/>
          <p:nvPr/>
        </p:nvSpPr>
        <p:spPr>
          <a:xfrm>
            <a:off x="326571" y="3209853"/>
            <a:ext cx="5675877" cy="1538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</a:pPr>
            <a:r>
              <a:rPr lang="da-DK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troduktioner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</a:pPr>
            <a:endParaRPr lang="da-DK" sz="2000" dirty="0">
              <a:solidFill>
                <a:schemeClr val="dk1"/>
              </a:solidFill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</a:pPr>
            <a:r>
              <a:rPr lang="da-DK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lights fra PwC’s Cyber</a:t>
            </a:r>
            <a:r>
              <a:rPr lang="da-DK" sz="2000" dirty="0">
                <a:solidFill>
                  <a:schemeClr val="dk1"/>
                </a:solidFill>
              </a:rPr>
              <a:t>crime </a:t>
            </a:r>
            <a:r>
              <a:rPr lang="da-DK" sz="2000" dirty="0" err="1">
                <a:solidFill>
                  <a:schemeClr val="dk1"/>
                </a:solidFill>
              </a:rPr>
              <a:t>Survey</a:t>
            </a:r>
            <a:r>
              <a:rPr lang="da-DK" sz="2000" dirty="0">
                <a:solidFill>
                  <a:schemeClr val="dk1"/>
                </a:solidFill>
              </a:rPr>
              <a:t> 2023</a:t>
            </a: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</a:pPr>
            <a:endParaRPr lang="da-DK" sz="2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 pitchFamily="34" charset="0"/>
              <a:buChar char="•"/>
            </a:pPr>
            <a:r>
              <a:rPr lang="da-DK" sz="20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flektioner</a:t>
            </a:r>
            <a:r>
              <a:rPr lang="da-DK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over vores fælles udfordringer</a:t>
            </a:r>
            <a:endParaRPr sz="20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2"/>
          <p:cNvSpPr/>
          <p:nvPr/>
        </p:nvSpPr>
        <p:spPr>
          <a:xfrm>
            <a:off x="0" y="1068350"/>
            <a:ext cx="2370000" cy="8259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51;p2"/>
          <p:cNvSpPr txBox="1"/>
          <p:nvPr/>
        </p:nvSpPr>
        <p:spPr>
          <a:xfrm>
            <a:off x="326570" y="1404391"/>
            <a:ext cx="17727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da-DK" sz="3200" b="0" i="0" u="none" strike="noStrike" cap="none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Agenda</a:t>
            </a:r>
            <a:endParaRPr sz="3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4" name="Google Shape;54;p2"/>
          <p:cNvCxnSpPr>
            <a:cxnSpLocks/>
          </p:cNvCxnSpPr>
          <p:nvPr/>
        </p:nvCxnSpPr>
        <p:spPr>
          <a:xfrm flipV="1">
            <a:off x="181069" y="2081428"/>
            <a:ext cx="11589446" cy="22033"/>
          </a:xfrm>
          <a:prstGeom prst="straightConnector1">
            <a:avLst/>
          </a:prstGeom>
          <a:noFill/>
          <a:ln w="10150" cap="sq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" name="Google Shape;57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Google Shape;438;p33">
            <a:extLst>
              <a:ext uri="{FF2B5EF4-FFF2-40B4-BE49-F238E27FC236}">
                <a16:creationId xmlns:a16="http://schemas.microsoft.com/office/drawing/2014/main" id="{99A85363-42DB-D1EA-4FBB-90159879CE22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466806" y="2390116"/>
            <a:ext cx="1106728" cy="152808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441;p33">
            <a:extLst>
              <a:ext uri="{FF2B5EF4-FFF2-40B4-BE49-F238E27FC236}">
                <a16:creationId xmlns:a16="http://schemas.microsoft.com/office/drawing/2014/main" id="{12A57FE9-2FEE-C975-B04A-E0AEA32FB9E4}"/>
              </a:ext>
            </a:extLst>
          </p:cNvPr>
          <p:cNvSpPr txBox="1"/>
          <p:nvPr/>
        </p:nvSpPr>
        <p:spPr>
          <a:xfrm>
            <a:off x="9154999" y="3453536"/>
            <a:ext cx="2071295" cy="75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da-DK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hristian Kjæ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da-DK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artner | </a:t>
            </a:r>
            <a:r>
              <a:rPr lang="da-DK" dirty="0" err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yber</a:t>
            </a:r>
            <a:r>
              <a:rPr lang="da-DK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&amp; </a:t>
            </a:r>
            <a:r>
              <a:rPr lang="da-DK" dirty="0" err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rivacy</a:t>
            </a:r>
            <a:r>
              <a:rPr lang="da-DK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189B4F-3ACA-E578-0A98-686727C26C9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370" t="9419" r="18077" b="40679"/>
          <a:stretch/>
        </p:blipFill>
        <p:spPr>
          <a:xfrm>
            <a:off x="7466806" y="4360838"/>
            <a:ext cx="1192990" cy="1607463"/>
          </a:xfrm>
          <a:prstGeom prst="rect">
            <a:avLst/>
          </a:prstGeom>
        </p:spPr>
      </p:pic>
      <p:sp>
        <p:nvSpPr>
          <p:cNvPr id="8" name="Google Shape;441;p33">
            <a:extLst>
              <a:ext uri="{FF2B5EF4-FFF2-40B4-BE49-F238E27FC236}">
                <a16:creationId xmlns:a16="http://schemas.microsoft.com/office/drawing/2014/main" id="{6595FFAF-736D-CEBF-9C70-8C83EC52E208}"/>
              </a:ext>
            </a:extLst>
          </p:cNvPr>
          <p:cNvSpPr txBox="1"/>
          <p:nvPr/>
        </p:nvSpPr>
        <p:spPr>
          <a:xfrm>
            <a:off x="9154999" y="5268887"/>
            <a:ext cx="2293573" cy="9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da-DK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homas Zakaria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da-DK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enior </a:t>
            </a:r>
            <a:r>
              <a:rPr lang="da-DK" dirty="0" err="1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irector</a:t>
            </a:r>
            <a:r>
              <a:rPr lang="da-DK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&amp; CISO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da-DK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SV A/S</a:t>
            </a:r>
            <a:r>
              <a:rPr lang="da-DK" b="0" i="0" u="none" strike="noStrike" cap="none" dirty="0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  <a:endParaRPr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25BBEE1-1845-1CF0-B4DC-8E5A3846F8E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AEDAC0-D4F4-AFF9-26DD-87D8368979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09CC420-B7B2-FA57-2A91-D8C83C29E723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2" name="Google Shape;412;g2a1b6206481_0_98"/>
          <p:cNvPicPr preferRelativeResize="0"/>
          <p:nvPr/>
        </p:nvPicPr>
        <p:blipFill rotWithShape="1">
          <a:blip r:embed="rId3">
            <a:alphaModFix/>
          </a:blip>
          <a:srcRect l="11261" r="46530"/>
          <a:stretch/>
        </p:blipFill>
        <p:spPr>
          <a:xfrm>
            <a:off x="8912000" y="-10825"/>
            <a:ext cx="3349151" cy="6361226"/>
          </a:xfrm>
          <a:prstGeom prst="rect">
            <a:avLst/>
          </a:prstGeom>
          <a:noFill/>
          <a:ln>
            <a:noFill/>
          </a:ln>
        </p:spPr>
      </p:pic>
      <p:sp>
        <p:nvSpPr>
          <p:cNvPr id="415" name="Google Shape;415;g2a1b6206481_0_98"/>
          <p:cNvSpPr txBox="1"/>
          <p:nvPr/>
        </p:nvSpPr>
        <p:spPr>
          <a:xfrm>
            <a:off x="6096001" y="2880011"/>
            <a:ext cx="277260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da-DK" sz="1800" b="1" dirty="0">
                <a:solidFill>
                  <a:srgbClr val="DB3A61"/>
                </a:solidFill>
                <a:latin typeface="+mj-lt"/>
                <a:ea typeface="Georgia"/>
                <a:cs typeface="Georgia"/>
                <a:sym typeface="Georgia"/>
              </a:rPr>
              <a:t>Download</a:t>
            </a:r>
            <a:endParaRPr sz="1800" b="1" dirty="0">
              <a:solidFill>
                <a:srgbClr val="DB3A61"/>
              </a:solidFill>
              <a:latin typeface="+mj-lt"/>
              <a:ea typeface="Georgia"/>
              <a:cs typeface="Georgia"/>
              <a:sym typeface="Georgia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da-DK" sz="1800" b="1" dirty="0">
                <a:solidFill>
                  <a:srgbClr val="DB3A61"/>
                </a:solidFill>
                <a:latin typeface="+mj-lt"/>
                <a:ea typeface="Georgia"/>
                <a:cs typeface="Georgia"/>
                <a:sym typeface="Georgia"/>
              </a:rPr>
              <a:t>PwC’s Cybercrime </a:t>
            </a:r>
            <a:r>
              <a:rPr lang="da-DK" sz="1800" b="1" dirty="0" err="1">
                <a:solidFill>
                  <a:srgbClr val="DB3A61"/>
                </a:solidFill>
                <a:latin typeface="+mj-lt"/>
                <a:ea typeface="Georgia"/>
                <a:cs typeface="Georgia"/>
                <a:sym typeface="Georgia"/>
              </a:rPr>
              <a:t>Survey</a:t>
            </a:r>
            <a:r>
              <a:rPr lang="da-DK" sz="1800" b="1" dirty="0">
                <a:solidFill>
                  <a:srgbClr val="DB3A61"/>
                </a:solidFill>
                <a:latin typeface="+mj-lt"/>
                <a:ea typeface="Georgia"/>
                <a:cs typeface="Georgia"/>
                <a:sym typeface="Georgia"/>
              </a:rPr>
              <a:t> 2023</a:t>
            </a:r>
            <a:r>
              <a:rPr lang="da-DK" sz="1800" b="1" i="0" u="none" strike="noStrike" cap="none" dirty="0">
                <a:solidFill>
                  <a:srgbClr val="DB3A61"/>
                </a:solidFill>
                <a:latin typeface="+mj-lt"/>
                <a:ea typeface="Georgia"/>
                <a:cs typeface="Georgia"/>
                <a:sym typeface="Georgia"/>
              </a:rPr>
              <a:t> </a:t>
            </a:r>
            <a:endParaRPr sz="1800" b="1" i="0" u="none" strike="noStrike" cap="none" dirty="0">
              <a:solidFill>
                <a:srgbClr val="DB3A61"/>
              </a:solidFill>
              <a:latin typeface="+mj-lt"/>
              <a:ea typeface="Georgia"/>
              <a:cs typeface="Georgia"/>
              <a:sym typeface="Georgia"/>
            </a:endParaRPr>
          </a:p>
        </p:txBody>
      </p:sp>
      <p:pic>
        <p:nvPicPr>
          <p:cNvPr id="416" name="Google Shape;416;g2a1b6206481_0_98"/>
          <p:cNvPicPr preferRelativeResize="0"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852195" y="3992086"/>
            <a:ext cx="2483324" cy="2592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18" name="Google Shape;418;g2a1b6206481_0_9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341FD5-6ABC-036C-9A95-1590BE6D98D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20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6F6DAA-4DD1-804B-0E63-BCD24F231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grpSp>
        <p:nvGrpSpPr>
          <p:cNvPr id="6" name="Google Shape;429;p33">
            <a:extLst>
              <a:ext uri="{FF2B5EF4-FFF2-40B4-BE49-F238E27FC236}">
                <a16:creationId xmlns:a16="http://schemas.microsoft.com/office/drawing/2014/main" id="{82BF083B-5FE1-F407-0E7D-7FB3A815652E}"/>
              </a:ext>
            </a:extLst>
          </p:cNvPr>
          <p:cNvGrpSpPr/>
          <p:nvPr/>
        </p:nvGrpSpPr>
        <p:grpSpPr>
          <a:xfrm>
            <a:off x="690928" y="982347"/>
            <a:ext cx="7752401" cy="1498675"/>
            <a:chOff x="768102" y="2105866"/>
            <a:chExt cx="9302137" cy="1498675"/>
          </a:xfrm>
        </p:grpSpPr>
        <p:cxnSp>
          <p:nvCxnSpPr>
            <p:cNvPr id="7" name="Google Shape;430;p33">
              <a:extLst>
                <a:ext uri="{FF2B5EF4-FFF2-40B4-BE49-F238E27FC236}">
                  <a16:creationId xmlns:a16="http://schemas.microsoft.com/office/drawing/2014/main" id="{5B839741-A8FD-984D-1BCB-CAA40339402F}"/>
                </a:ext>
              </a:extLst>
            </p:cNvPr>
            <p:cNvCxnSpPr>
              <a:cxnSpLocks/>
            </p:cNvCxnSpPr>
            <p:nvPr/>
          </p:nvCxnSpPr>
          <p:spPr>
            <a:xfrm>
              <a:off x="768102" y="2105866"/>
              <a:ext cx="8739777" cy="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8" name="Google Shape;431;p33">
              <a:extLst>
                <a:ext uri="{FF2B5EF4-FFF2-40B4-BE49-F238E27FC236}">
                  <a16:creationId xmlns:a16="http://schemas.microsoft.com/office/drawing/2014/main" id="{35BD13A0-29CF-8B7E-C302-189653FEF613}"/>
                </a:ext>
              </a:extLst>
            </p:cNvPr>
            <p:cNvSpPr txBox="1"/>
            <p:nvPr/>
          </p:nvSpPr>
          <p:spPr>
            <a:xfrm>
              <a:off x="1330463" y="2311922"/>
              <a:ext cx="8739776" cy="113877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da-DK" sz="6000" dirty="0">
                  <a:solidFill>
                    <a:srgbClr val="DD405F"/>
                  </a:solidFill>
                </a:rPr>
                <a:t>TAK FOR I DAG</a:t>
              </a:r>
              <a:endParaRPr sz="6000" dirty="0">
                <a:solidFill>
                  <a:srgbClr val="DD405F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endParaRPr dirty="0">
                <a:solidFill>
                  <a:srgbClr val="DD405F"/>
                </a:solidFill>
              </a:endParaRPr>
            </a:p>
          </p:txBody>
        </p:sp>
        <p:cxnSp>
          <p:nvCxnSpPr>
            <p:cNvPr id="9" name="Google Shape;432;p33">
              <a:extLst>
                <a:ext uri="{FF2B5EF4-FFF2-40B4-BE49-F238E27FC236}">
                  <a16:creationId xmlns:a16="http://schemas.microsoft.com/office/drawing/2014/main" id="{406DAA88-5C77-8EEE-8D6F-6AD3E2450E8A}"/>
                </a:ext>
              </a:extLst>
            </p:cNvPr>
            <p:cNvCxnSpPr>
              <a:cxnSpLocks/>
            </p:cNvCxnSpPr>
            <p:nvPr/>
          </p:nvCxnSpPr>
          <p:spPr>
            <a:xfrm>
              <a:off x="768102" y="3604541"/>
              <a:ext cx="8739778" cy="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26CAFC8-5749-85A2-8C4C-0131A710E6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928" y="2896035"/>
            <a:ext cx="1780669" cy="323041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EF56B-A946-54EA-9DFF-886E84F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spc="-75" dirty="0"/>
              <a:t>DSV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1777CC-07B0-D2A8-6E13-BB8B78CBC7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EF7201-F92F-4B08-8CD8-21667D02614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0B12DB-6137-381B-CCA6-5BB54A68BBF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68453-BAB5-46CE-A4CF-38551120EE52}" type="datetime3">
              <a:rPr kumimoji="0" lang="en-US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 December 2023</a:t>
            </a:fld>
            <a:endParaRPr kumimoji="0" lang="en-US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8BFD5F-04EC-2959-0ED1-C3DDD765F28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Add place via Insert, Header &amp; Footer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6FCE1D-59E5-BC9D-7669-64D1A4CFA100}"/>
              </a:ext>
            </a:extLst>
          </p:cNvPr>
          <p:cNvSpPr>
            <a:spLocks/>
          </p:cNvSpPr>
          <p:nvPr/>
        </p:nvSpPr>
        <p:spPr>
          <a:xfrm>
            <a:off x="7042880" y="1284924"/>
            <a:ext cx="4125548" cy="262751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220">
            <a:extLst>
              <a:ext uri="{FF2B5EF4-FFF2-40B4-BE49-F238E27FC236}">
                <a16:creationId xmlns:a16="http://schemas.microsoft.com/office/drawing/2014/main" id="{C629DA1E-C65F-B7C9-BFF9-350FC045838E}"/>
              </a:ext>
            </a:extLst>
          </p:cNvPr>
          <p:cNvSpPr/>
          <p:nvPr/>
        </p:nvSpPr>
        <p:spPr>
          <a:xfrm>
            <a:off x="8046814" y="3469463"/>
            <a:ext cx="2932338" cy="376704"/>
          </a:xfrm>
          <a:prstGeom prst="rect">
            <a:avLst/>
          </a:prstGeom>
        </p:spPr>
        <p:txBody>
          <a:bodyPr wrap="square" lIns="36000" tIns="36000" rIns="3600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Fortune Global 500 company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2F48C4-73A6-F790-0CEE-AE47F8852B39}"/>
              </a:ext>
            </a:extLst>
          </p:cNvPr>
          <p:cNvSpPr>
            <a:spLocks/>
          </p:cNvSpPr>
          <p:nvPr/>
        </p:nvSpPr>
        <p:spPr>
          <a:xfrm>
            <a:off x="1023576" y="1284925"/>
            <a:ext cx="2932039" cy="45437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9A08B5-7B20-B8C8-726B-1CE2F328E852}"/>
              </a:ext>
            </a:extLst>
          </p:cNvPr>
          <p:cNvSpPr>
            <a:spLocks/>
          </p:cNvSpPr>
          <p:nvPr/>
        </p:nvSpPr>
        <p:spPr>
          <a:xfrm>
            <a:off x="4041504" y="1284925"/>
            <a:ext cx="2913456" cy="454371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ABD989-DFA0-C0AC-2683-A69BCC432E0B}"/>
              </a:ext>
            </a:extLst>
          </p:cNvPr>
          <p:cNvSpPr>
            <a:spLocks/>
          </p:cNvSpPr>
          <p:nvPr/>
        </p:nvSpPr>
        <p:spPr>
          <a:xfrm>
            <a:off x="7040850" y="3999394"/>
            <a:ext cx="4125600" cy="182924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61232A5B-D8E5-E14C-2AB7-763694A6F595}"/>
              </a:ext>
            </a:extLst>
          </p:cNvPr>
          <p:cNvSpPr txBox="1">
            <a:spLocks/>
          </p:cNvSpPr>
          <p:nvPr/>
        </p:nvSpPr>
        <p:spPr>
          <a:xfrm>
            <a:off x="4048249" y="1493468"/>
            <a:ext cx="2844087" cy="4474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2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company – 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ree division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1DF80AE-D5D1-47E0-BBE2-6361D6C2CBC7}"/>
              </a:ext>
            </a:extLst>
          </p:cNvPr>
          <p:cNvSpPr txBox="1">
            <a:spLocks/>
          </p:cNvSpPr>
          <p:nvPr/>
        </p:nvSpPr>
        <p:spPr>
          <a:xfrm>
            <a:off x="1378246" y="1493468"/>
            <a:ext cx="2046059" cy="2214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2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charset="0"/>
              </a:rPr>
              <a:t>Global operation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E3AF6DE4-6FEA-25A5-8301-802AF80A188E}"/>
              </a:ext>
            </a:extLst>
          </p:cNvPr>
          <p:cNvSpPr txBox="1">
            <a:spLocks/>
          </p:cNvSpPr>
          <p:nvPr/>
        </p:nvSpPr>
        <p:spPr>
          <a:xfrm>
            <a:off x="7042879" y="1493469"/>
            <a:ext cx="4125547" cy="2355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2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212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SV</a:t>
            </a:r>
          </a:p>
        </p:txBody>
      </p:sp>
      <p:sp>
        <p:nvSpPr>
          <p:cNvPr id="14" name="Rectangle 220">
            <a:extLst>
              <a:ext uri="{FF2B5EF4-FFF2-40B4-BE49-F238E27FC236}">
                <a16:creationId xmlns:a16="http://schemas.microsoft.com/office/drawing/2014/main" id="{C13B1DD8-30D1-F8D6-9836-DAADC2064010}"/>
              </a:ext>
            </a:extLst>
          </p:cNvPr>
          <p:cNvSpPr>
            <a:spLocks/>
          </p:cNvSpPr>
          <p:nvPr/>
        </p:nvSpPr>
        <p:spPr>
          <a:xfrm>
            <a:off x="5300538" y="2414928"/>
            <a:ext cx="1554439" cy="46251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Air &amp; S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A global network</a:t>
            </a:r>
          </a:p>
        </p:txBody>
      </p:sp>
      <p:sp>
        <p:nvSpPr>
          <p:cNvPr id="15" name="Rectangle 220">
            <a:extLst>
              <a:ext uri="{FF2B5EF4-FFF2-40B4-BE49-F238E27FC236}">
                <a16:creationId xmlns:a16="http://schemas.microsoft.com/office/drawing/2014/main" id="{BDF6C1FE-2293-7B2E-F7E0-D76EB8D4BD07}"/>
              </a:ext>
            </a:extLst>
          </p:cNvPr>
          <p:cNvSpPr>
            <a:spLocks/>
          </p:cNvSpPr>
          <p:nvPr/>
        </p:nvSpPr>
        <p:spPr>
          <a:xfrm>
            <a:off x="5302356" y="3478598"/>
            <a:ext cx="1543034" cy="74521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Road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Overland transport in Europe, North America, Middle East and South Afric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6" name="Graphic 80">
            <a:extLst>
              <a:ext uri="{FF2B5EF4-FFF2-40B4-BE49-F238E27FC236}">
                <a16:creationId xmlns:a16="http://schemas.microsoft.com/office/drawing/2014/main" id="{8238D3B6-57CC-6906-A76A-960A3D4C0DD1}"/>
              </a:ext>
            </a:extLst>
          </p:cNvPr>
          <p:cNvGrpSpPr>
            <a:grpSpLocks/>
          </p:cNvGrpSpPr>
          <p:nvPr/>
        </p:nvGrpSpPr>
        <p:grpSpPr>
          <a:xfrm>
            <a:off x="4316232" y="3634506"/>
            <a:ext cx="668356" cy="347490"/>
            <a:chOff x="4321592" y="3770624"/>
            <a:chExt cx="731793" cy="380471"/>
          </a:xfrm>
          <a:solidFill>
            <a:schemeClr val="accent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D1F5864-912D-C375-5A86-C44EDC81011A}"/>
                </a:ext>
              </a:extLst>
            </p:cNvPr>
            <p:cNvSpPr/>
            <p:nvPr/>
          </p:nvSpPr>
          <p:spPr>
            <a:xfrm>
              <a:off x="4544812" y="3984639"/>
              <a:ext cx="453343" cy="7670"/>
            </a:xfrm>
            <a:custGeom>
              <a:avLst/>
              <a:gdLst>
                <a:gd name="connsiteX0" fmla="*/ 453343 w 453343"/>
                <a:gd name="connsiteY0" fmla="*/ 0 h 7670"/>
                <a:gd name="connsiteX1" fmla="*/ 0 w 453343"/>
                <a:gd name="connsiteY1" fmla="*/ 0 h 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343" h="7670">
                  <a:moveTo>
                    <a:pt x="453343" y="0"/>
                  </a:moveTo>
                  <a:lnTo>
                    <a:pt x="0" y="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2B740CB-8A08-C533-F10A-EFF4E56C6AB3}"/>
                </a:ext>
              </a:extLst>
            </p:cNvPr>
            <p:cNvSpPr/>
            <p:nvPr/>
          </p:nvSpPr>
          <p:spPr>
            <a:xfrm>
              <a:off x="4544812" y="3770624"/>
              <a:ext cx="508573" cy="320638"/>
            </a:xfrm>
            <a:custGeom>
              <a:avLst/>
              <a:gdLst>
                <a:gd name="connsiteX0" fmla="*/ 458713 w 508573"/>
                <a:gd name="connsiteY0" fmla="*/ 320639 h 320638"/>
                <a:gd name="connsiteX1" fmla="*/ 508573 w 508573"/>
                <a:gd name="connsiteY1" fmla="*/ 320639 h 320638"/>
                <a:gd name="connsiteX2" fmla="*/ 508573 w 508573"/>
                <a:gd name="connsiteY2" fmla="*/ 0 h 320638"/>
                <a:gd name="connsiteX3" fmla="*/ 0 w 508573"/>
                <a:gd name="connsiteY3" fmla="*/ 0 h 320638"/>
                <a:gd name="connsiteX4" fmla="*/ 0 w 508573"/>
                <a:gd name="connsiteY4" fmla="*/ 320639 h 320638"/>
                <a:gd name="connsiteX5" fmla="*/ 273847 w 508573"/>
                <a:gd name="connsiteY5" fmla="*/ 320639 h 32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573" h="320638">
                  <a:moveTo>
                    <a:pt x="458713" y="320639"/>
                  </a:moveTo>
                  <a:lnTo>
                    <a:pt x="508573" y="320639"/>
                  </a:lnTo>
                  <a:lnTo>
                    <a:pt x="508573" y="0"/>
                  </a:lnTo>
                  <a:lnTo>
                    <a:pt x="0" y="0"/>
                  </a:lnTo>
                  <a:lnTo>
                    <a:pt x="0" y="320639"/>
                  </a:lnTo>
                  <a:lnTo>
                    <a:pt x="273847" y="320639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D70DACE-AA3F-580D-0A27-BA2D8E761CBC}"/>
                </a:ext>
              </a:extLst>
            </p:cNvPr>
            <p:cNvSpPr/>
            <p:nvPr/>
          </p:nvSpPr>
          <p:spPr>
            <a:xfrm>
              <a:off x="4597741" y="4036801"/>
              <a:ext cx="241629" cy="7670"/>
            </a:xfrm>
            <a:custGeom>
              <a:avLst/>
              <a:gdLst>
                <a:gd name="connsiteX0" fmla="*/ 241630 w 241629"/>
                <a:gd name="connsiteY0" fmla="*/ 0 h 7670"/>
                <a:gd name="connsiteX1" fmla="*/ 0 w 241629"/>
                <a:gd name="connsiteY1" fmla="*/ 0 h 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29" h="7670">
                  <a:moveTo>
                    <a:pt x="241630" y="0"/>
                  </a:moveTo>
                  <a:lnTo>
                    <a:pt x="0" y="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lgDash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1D06B43-58F9-EBCF-1702-B4712C5C6894}"/>
                </a:ext>
              </a:extLst>
            </p:cNvPr>
            <p:cNvSpPr/>
            <p:nvPr/>
          </p:nvSpPr>
          <p:spPr>
            <a:xfrm>
              <a:off x="4873122" y="4020692"/>
              <a:ext cx="130403" cy="130403"/>
            </a:xfrm>
            <a:custGeom>
              <a:avLst/>
              <a:gdLst>
                <a:gd name="connsiteX0" fmla="*/ 130403 w 130403"/>
                <a:gd name="connsiteY0" fmla="*/ 65202 h 130403"/>
                <a:gd name="connsiteX1" fmla="*/ 65202 w 130403"/>
                <a:gd name="connsiteY1" fmla="*/ 130403 h 130403"/>
                <a:gd name="connsiteX2" fmla="*/ 0 w 130403"/>
                <a:gd name="connsiteY2" fmla="*/ 65202 h 130403"/>
                <a:gd name="connsiteX3" fmla="*/ 65202 w 130403"/>
                <a:gd name="connsiteY3" fmla="*/ 0 h 130403"/>
                <a:gd name="connsiteX4" fmla="*/ 130403 w 130403"/>
                <a:gd name="connsiteY4" fmla="*/ 65202 h 13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03" h="130403">
                  <a:moveTo>
                    <a:pt x="130403" y="65202"/>
                  </a:moveTo>
                  <a:cubicBezTo>
                    <a:pt x="130403" y="101212"/>
                    <a:pt x="101212" y="130403"/>
                    <a:pt x="65202" y="130403"/>
                  </a:cubicBezTo>
                  <a:cubicBezTo>
                    <a:pt x="29192" y="130403"/>
                    <a:pt x="0" y="101212"/>
                    <a:pt x="0" y="65202"/>
                  </a:cubicBezTo>
                  <a:cubicBezTo>
                    <a:pt x="0" y="29192"/>
                    <a:pt x="29192" y="0"/>
                    <a:pt x="65202" y="0"/>
                  </a:cubicBezTo>
                  <a:cubicBezTo>
                    <a:pt x="101212" y="0"/>
                    <a:pt x="130403" y="29192"/>
                    <a:pt x="130403" y="65202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84F3FD0-85FF-4C67-C16F-5BA825A781FB}"/>
                </a:ext>
              </a:extLst>
            </p:cNvPr>
            <p:cNvSpPr/>
            <p:nvPr/>
          </p:nvSpPr>
          <p:spPr>
            <a:xfrm>
              <a:off x="4321592" y="3829690"/>
              <a:ext cx="223219" cy="261573"/>
            </a:xfrm>
            <a:custGeom>
              <a:avLst/>
              <a:gdLst>
                <a:gd name="connsiteX0" fmla="*/ 46792 w 223219"/>
                <a:gd name="connsiteY0" fmla="*/ 261574 h 261573"/>
                <a:gd name="connsiteX1" fmla="*/ 0 w 223219"/>
                <a:gd name="connsiteY1" fmla="*/ 261574 h 261573"/>
                <a:gd name="connsiteX2" fmla="*/ 0 w 223219"/>
                <a:gd name="connsiteY2" fmla="*/ 122733 h 261573"/>
                <a:gd name="connsiteX3" fmla="*/ 34519 w 223219"/>
                <a:gd name="connsiteY3" fmla="*/ 0 h 261573"/>
                <a:gd name="connsiteX4" fmla="*/ 34519 w 223219"/>
                <a:gd name="connsiteY4" fmla="*/ 0 h 261573"/>
                <a:gd name="connsiteX5" fmla="*/ 223220 w 223219"/>
                <a:gd name="connsiteY5" fmla="*/ 0 h 2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219" h="261573">
                  <a:moveTo>
                    <a:pt x="46792" y="261574"/>
                  </a:moveTo>
                  <a:lnTo>
                    <a:pt x="0" y="261574"/>
                  </a:lnTo>
                  <a:lnTo>
                    <a:pt x="0" y="122733"/>
                  </a:lnTo>
                  <a:lnTo>
                    <a:pt x="34519" y="0"/>
                  </a:lnTo>
                  <a:lnTo>
                    <a:pt x="34519" y="0"/>
                  </a:lnTo>
                  <a:lnTo>
                    <a:pt x="223220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035BF99-C0AF-6324-8774-EF2CCAE32CE3}"/>
                </a:ext>
              </a:extLst>
            </p:cNvPr>
            <p:cNvSpPr/>
            <p:nvPr/>
          </p:nvSpPr>
          <p:spPr>
            <a:xfrm>
              <a:off x="4321592" y="3829690"/>
              <a:ext cx="111993" cy="124266"/>
            </a:xfrm>
            <a:custGeom>
              <a:avLst/>
              <a:gdLst>
                <a:gd name="connsiteX0" fmla="*/ 0 w 111993"/>
                <a:gd name="connsiteY0" fmla="*/ 124267 h 124266"/>
                <a:gd name="connsiteX1" fmla="*/ 111993 w 111993"/>
                <a:gd name="connsiteY1" fmla="*/ 124267 h 124266"/>
                <a:gd name="connsiteX2" fmla="*/ 111993 w 111993"/>
                <a:gd name="connsiteY2" fmla="*/ 0 h 12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93" h="124266">
                  <a:moveTo>
                    <a:pt x="0" y="124267"/>
                  </a:moveTo>
                  <a:lnTo>
                    <a:pt x="111993" y="124267"/>
                  </a:lnTo>
                  <a:lnTo>
                    <a:pt x="111993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32D5540-343E-8983-42FA-16B807EDCEA1}"/>
                </a:ext>
              </a:extLst>
            </p:cNvPr>
            <p:cNvSpPr/>
            <p:nvPr/>
          </p:nvSpPr>
          <p:spPr>
            <a:xfrm>
              <a:off x="4368384" y="4020692"/>
              <a:ext cx="130403" cy="130403"/>
            </a:xfrm>
            <a:custGeom>
              <a:avLst/>
              <a:gdLst>
                <a:gd name="connsiteX0" fmla="*/ 130403 w 130403"/>
                <a:gd name="connsiteY0" fmla="*/ 65202 h 130403"/>
                <a:gd name="connsiteX1" fmla="*/ 65202 w 130403"/>
                <a:gd name="connsiteY1" fmla="*/ 130403 h 130403"/>
                <a:gd name="connsiteX2" fmla="*/ 0 w 130403"/>
                <a:gd name="connsiteY2" fmla="*/ 65202 h 130403"/>
                <a:gd name="connsiteX3" fmla="*/ 65202 w 130403"/>
                <a:gd name="connsiteY3" fmla="*/ 0 h 130403"/>
                <a:gd name="connsiteX4" fmla="*/ 130403 w 130403"/>
                <a:gd name="connsiteY4" fmla="*/ 65202 h 13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03" h="130403">
                  <a:moveTo>
                    <a:pt x="130403" y="65202"/>
                  </a:moveTo>
                  <a:cubicBezTo>
                    <a:pt x="130403" y="101212"/>
                    <a:pt x="101212" y="130403"/>
                    <a:pt x="65202" y="130403"/>
                  </a:cubicBezTo>
                  <a:cubicBezTo>
                    <a:pt x="29192" y="130403"/>
                    <a:pt x="0" y="101212"/>
                    <a:pt x="0" y="65202"/>
                  </a:cubicBezTo>
                  <a:cubicBezTo>
                    <a:pt x="0" y="29192"/>
                    <a:pt x="29192" y="0"/>
                    <a:pt x="65202" y="0"/>
                  </a:cubicBezTo>
                  <a:cubicBezTo>
                    <a:pt x="101212" y="0"/>
                    <a:pt x="130403" y="29192"/>
                    <a:pt x="130403" y="65202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DA87926-684D-8592-463A-630DEA7F927F}"/>
                </a:ext>
              </a:extLst>
            </p:cNvPr>
            <p:cNvSpPr/>
            <p:nvPr/>
          </p:nvSpPr>
          <p:spPr>
            <a:xfrm>
              <a:off x="4498788" y="4091263"/>
              <a:ext cx="46024" cy="7670"/>
            </a:xfrm>
            <a:custGeom>
              <a:avLst/>
              <a:gdLst>
                <a:gd name="connsiteX0" fmla="*/ 0 w 46024"/>
                <a:gd name="connsiteY0" fmla="*/ 0 h 7670"/>
                <a:gd name="connsiteX1" fmla="*/ 46025 w 46024"/>
                <a:gd name="connsiteY1" fmla="*/ 0 h 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024" h="7670">
                  <a:moveTo>
                    <a:pt x="0" y="0"/>
                  </a:moveTo>
                  <a:lnTo>
                    <a:pt x="46025" y="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358F8E6-9E05-5EDE-22D3-5B3DAB4430C2}"/>
              </a:ext>
            </a:extLst>
          </p:cNvPr>
          <p:cNvGrpSpPr/>
          <p:nvPr/>
        </p:nvGrpSpPr>
        <p:grpSpPr>
          <a:xfrm>
            <a:off x="5263841" y="4675042"/>
            <a:ext cx="1401524" cy="745219"/>
            <a:chOff x="5173314" y="4874188"/>
            <a:chExt cx="1534548" cy="815951"/>
          </a:xfrm>
        </p:grpSpPr>
        <p:sp>
          <p:nvSpPr>
            <p:cNvPr id="26" name="Rectangle 220">
              <a:extLst>
                <a:ext uri="{FF2B5EF4-FFF2-40B4-BE49-F238E27FC236}">
                  <a16:creationId xmlns:a16="http://schemas.microsoft.com/office/drawing/2014/main" id="{2FEE11E1-EEAA-AD8D-C445-DDE7252554AA}"/>
                </a:ext>
              </a:extLst>
            </p:cNvPr>
            <p:cNvSpPr/>
            <p:nvPr/>
          </p:nvSpPr>
          <p:spPr>
            <a:xfrm>
              <a:off x="5173314" y="4874188"/>
              <a:ext cx="1534548" cy="815951"/>
            </a:xfrm>
            <a:prstGeom prst="rect">
              <a:avLst/>
            </a:prstGeom>
          </p:spPr>
          <p:txBody>
            <a:bodyPr wrap="square" lIns="36000" tIns="36000" rIns="36000" bIns="360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Segoe UI" panose="020B0502040204020203" pitchFamily="34" charset="0"/>
                </a:rPr>
                <a:t>Solutions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Segoe UI" panose="020B0502040204020203" pitchFamily="34" charset="0"/>
                </a:rPr>
                <a:t>Contract logistics services worldwid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5A4EE5-E5F6-0403-BB4B-C37A433418AE}"/>
              </a:ext>
            </a:extLst>
          </p:cNvPr>
          <p:cNvGrpSpPr/>
          <p:nvPr/>
        </p:nvGrpSpPr>
        <p:grpSpPr>
          <a:xfrm>
            <a:off x="4305069" y="4781800"/>
            <a:ext cx="677602" cy="522911"/>
            <a:chOff x="4316617" y="4986502"/>
            <a:chExt cx="741915" cy="572542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82D4CAE-7FB6-31CB-940E-14C79083F084}"/>
                </a:ext>
              </a:extLst>
            </p:cNvPr>
            <p:cNvSpPr/>
            <p:nvPr/>
          </p:nvSpPr>
          <p:spPr>
            <a:xfrm>
              <a:off x="4486982" y="5467973"/>
              <a:ext cx="116979" cy="91071"/>
            </a:xfrm>
            <a:custGeom>
              <a:avLst/>
              <a:gdLst>
                <a:gd name="connsiteX0" fmla="*/ 0 w 116979"/>
                <a:gd name="connsiteY0" fmla="*/ 0 h 91071"/>
                <a:gd name="connsiteX1" fmla="*/ 116979 w 116979"/>
                <a:gd name="connsiteY1" fmla="*/ 0 h 91071"/>
                <a:gd name="connsiteX2" fmla="*/ 116979 w 116979"/>
                <a:gd name="connsiteY2" fmla="*/ 91071 h 91071"/>
                <a:gd name="connsiteX3" fmla="*/ 0 w 116979"/>
                <a:gd name="connsiteY3" fmla="*/ 91071 h 9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79" h="91071">
                  <a:moveTo>
                    <a:pt x="0" y="0"/>
                  </a:moveTo>
                  <a:lnTo>
                    <a:pt x="116979" y="0"/>
                  </a:lnTo>
                  <a:lnTo>
                    <a:pt x="116979" y="91071"/>
                  </a:lnTo>
                  <a:lnTo>
                    <a:pt x="0" y="91071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8BF6EE8-202E-A1A7-8B07-97BB7A8109EB}"/>
                </a:ext>
              </a:extLst>
            </p:cNvPr>
            <p:cNvSpPr/>
            <p:nvPr/>
          </p:nvSpPr>
          <p:spPr>
            <a:xfrm>
              <a:off x="4486982" y="5377687"/>
              <a:ext cx="116979" cy="91071"/>
            </a:xfrm>
            <a:custGeom>
              <a:avLst/>
              <a:gdLst>
                <a:gd name="connsiteX0" fmla="*/ 0 w 116979"/>
                <a:gd name="connsiteY0" fmla="*/ 0 h 91071"/>
                <a:gd name="connsiteX1" fmla="*/ 116979 w 116979"/>
                <a:gd name="connsiteY1" fmla="*/ 0 h 91071"/>
                <a:gd name="connsiteX2" fmla="*/ 116979 w 116979"/>
                <a:gd name="connsiteY2" fmla="*/ 91071 h 91071"/>
                <a:gd name="connsiteX3" fmla="*/ 0 w 116979"/>
                <a:gd name="connsiteY3" fmla="*/ 91071 h 9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79" h="91071">
                  <a:moveTo>
                    <a:pt x="0" y="0"/>
                  </a:moveTo>
                  <a:lnTo>
                    <a:pt x="116979" y="0"/>
                  </a:lnTo>
                  <a:lnTo>
                    <a:pt x="116979" y="91071"/>
                  </a:lnTo>
                  <a:lnTo>
                    <a:pt x="0" y="91071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C002FAF-4795-591E-AEC6-F74B6743C716}"/>
                </a:ext>
              </a:extLst>
            </p:cNvPr>
            <p:cNvSpPr/>
            <p:nvPr/>
          </p:nvSpPr>
          <p:spPr>
            <a:xfrm>
              <a:off x="4637721" y="5467973"/>
              <a:ext cx="116979" cy="91071"/>
            </a:xfrm>
            <a:custGeom>
              <a:avLst/>
              <a:gdLst>
                <a:gd name="connsiteX0" fmla="*/ 0 w 116979"/>
                <a:gd name="connsiteY0" fmla="*/ 0 h 91071"/>
                <a:gd name="connsiteX1" fmla="*/ 116979 w 116979"/>
                <a:gd name="connsiteY1" fmla="*/ 0 h 91071"/>
                <a:gd name="connsiteX2" fmla="*/ 116979 w 116979"/>
                <a:gd name="connsiteY2" fmla="*/ 91071 h 91071"/>
                <a:gd name="connsiteX3" fmla="*/ 0 w 116979"/>
                <a:gd name="connsiteY3" fmla="*/ 91071 h 9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79" h="91071">
                  <a:moveTo>
                    <a:pt x="0" y="0"/>
                  </a:moveTo>
                  <a:lnTo>
                    <a:pt x="116979" y="0"/>
                  </a:lnTo>
                  <a:lnTo>
                    <a:pt x="116979" y="91071"/>
                  </a:lnTo>
                  <a:lnTo>
                    <a:pt x="0" y="91071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6B15A63-9CFB-E99B-E0C8-57F5D0571ADD}"/>
                </a:ext>
              </a:extLst>
            </p:cNvPr>
            <p:cNvSpPr/>
            <p:nvPr/>
          </p:nvSpPr>
          <p:spPr>
            <a:xfrm>
              <a:off x="4326038" y="4986502"/>
              <a:ext cx="732494" cy="105987"/>
            </a:xfrm>
            <a:custGeom>
              <a:avLst/>
              <a:gdLst>
                <a:gd name="connsiteX0" fmla="*/ 732494 w 732494"/>
                <a:gd name="connsiteY0" fmla="*/ 105988 h 105987"/>
                <a:gd name="connsiteX1" fmla="*/ 365855 w 732494"/>
                <a:gd name="connsiteY1" fmla="*/ 0 h 105987"/>
                <a:gd name="connsiteX2" fmla="*/ 0 w 732494"/>
                <a:gd name="connsiteY2" fmla="*/ 105988 h 10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2494" h="105987">
                  <a:moveTo>
                    <a:pt x="732494" y="105988"/>
                  </a:moveTo>
                  <a:lnTo>
                    <a:pt x="365855" y="0"/>
                  </a:lnTo>
                  <a:lnTo>
                    <a:pt x="0" y="105988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96B86D6-D949-9487-F497-D76A84FA1E69}"/>
                </a:ext>
              </a:extLst>
            </p:cNvPr>
            <p:cNvSpPr/>
            <p:nvPr/>
          </p:nvSpPr>
          <p:spPr>
            <a:xfrm>
              <a:off x="4377854" y="5144514"/>
              <a:ext cx="628076" cy="414530"/>
            </a:xfrm>
            <a:custGeom>
              <a:avLst/>
              <a:gdLst>
                <a:gd name="connsiteX0" fmla="*/ 0 w 628076"/>
                <a:gd name="connsiteY0" fmla="*/ 0 h 414530"/>
                <a:gd name="connsiteX1" fmla="*/ 628077 w 628076"/>
                <a:gd name="connsiteY1" fmla="*/ 0 h 414530"/>
                <a:gd name="connsiteX2" fmla="*/ 628077 w 628076"/>
                <a:gd name="connsiteY2" fmla="*/ 414531 h 414530"/>
                <a:gd name="connsiteX3" fmla="*/ 0 w 628076"/>
                <a:gd name="connsiteY3" fmla="*/ 414531 h 414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8076" h="414530">
                  <a:moveTo>
                    <a:pt x="0" y="0"/>
                  </a:moveTo>
                  <a:lnTo>
                    <a:pt x="628077" y="0"/>
                  </a:lnTo>
                  <a:lnTo>
                    <a:pt x="628077" y="414531"/>
                  </a:lnTo>
                  <a:lnTo>
                    <a:pt x="0" y="414531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6A761E4-6581-69B4-1785-A4E8FBC02458}"/>
                </a:ext>
              </a:extLst>
            </p:cNvPr>
            <p:cNvSpPr/>
            <p:nvPr/>
          </p:nvSpPr>
          <p:spPr>
            <a:xfrm>
              <a:off x="4432026" y="5310954"/>
              <a:ext cx="522088" cy="248090"/>
            </a:xfrm>
            <a:custGeom>
              <a:avLst/>
              <a:gdLst>
                <a:gd name="connsiteX0" fmla="*/ 0 w 522088"/>
                <a:gd name="connsiteY0" fmla="*/ 0 h 248090"/>
                <a:gd name="connsiteX1" fmla="*/ 522089 w 522088"/>
                <a:gd name="connsiteY1" fmla="*/ 0 h 248090"/>
                <a:gd name="connsiteX2" fmla="*/ 522089 w 522088"/>
                <a:gd name="connsiteY2" fmla="*/ 248090 h 248090"/>
                <a:gd name="connsiteX3" fmla="*/ 0 w 522088"/>
                <a:gd name="connsiteY3" fmla="*/ 248090 h 24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2088" h="248090">
                  <a:moveTo>
                    <a:pt x="0" y="0"/>
                  </a:moveTo>
                  <a:lnTo>
                    <a:pt x="522089" y="0"/>
                  </a:lnTo>
                  <a:lnTo>
                    <a:pt x="522089" y="248090"/>
                  </a:lnTo>
                  <a:lnTo>
                    <a:pt x="0" y="24809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F1498CA-4848-39CC-C353-CD2BAB3AA8DA}"/>
                </a:ext>
              </a:extLst>
            </p:cNvPr>
            <p:cNvSpPr/>
            <p:nvPr/>
          </p:nvSpPr>
          <p:spPr>
            <a:xfrm>
              <a:off x="4316617" y="4996131"/>
              <a:ext cx="7850" cy="7850"/>
            </a:xfrm>
            <a:custGeom>
              <a:avLst/>
              <a:gdLst/>
              <a:ahLst/>
              <a:cxnLst/>
              <a:rect l="l" t="t" r="r" b="b"/>
              <a:pathLst>
                <a:path w="7850" h="7850"/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Graphic 89">
              <a:extLst>
                <a:ext uri="{FF2B5EF4-FFF2-40B4-BE49-F238E27FC236}">
                  <a16:creationId xmlns:a16="http://schemas.microsoft.com/office/drawing/2014/main" id="{C5612DE2-F6C3-B9C1-E0F5-6BB9362B332B}"/>
                </a:ext>
              </a:extLst>
            </p:cNvPr>
            <p:cNvSpPr/>
            <p:nvPr/>
          </p:nvSpPr>
          <p:spPr>
            <a:xfrm>
              <a:off x="4606132" y="5203304"/>
              <a:ext cx="176527" cy="52549"/>
            </a:xfrm>
            <a:custGeom>
              <a:avLst/>
              <a:gdLst>
                <a:gd name="connsiteX0" fmla="*/ 153872 w 176527"/>
                <a:gd name="connsiteY0" fmla="*/ 49088 h 52549"/>
                <a:gd name="connsiteX1" fmla="*/ 148522 w 176527"/>
                <a:gd name="connsiteY1" fmla="*/ 52234 h 52549"/>
                <a:gd name="connsiteX2" fmla="*/ 136565 w 176527"/>
                <a:gd name="connsiteY2" fmla="*/ 52234 h 52549"/>
                <a:gd name="connsiteX3" fmla="*/ 131530 w 176527"/>
                <a:gd name="connsiteY3" fmla="*/ 49088 h 52549"/>
                <a:gd name="connsiteX4" fmla="*/ 114853 w 176527"/>
                <a:gd name="connsiteY4" fmla="*/ 15733 h 52549"/>
                <a:gd name="connsiteX5" fmla="*/ 106986 w 176527"/>
                <a:gd name="connsiteY5" fmla="*/ 11643 h 52549"/>
                <a:gd name="connsiteX6" fmla="*/ 77093 w 176527"/>
                <a:gd name="connsiteY6" fmla="*/ 11643 h 52549"/>
                <a:gd name="connsiteX7" fmla="*/ 72688 w 176527"/>
                <a:gd name="connsiteY7" fmla="*/ 16048 h 52549"/>
                <a:gd name="connsiteX8" fmla="*/ 77093 w 176527"/>
                <a:gd name="connsiteY8" fmla="*/ 20453 h 52549"/>
                <a:gd name="connsiteX9" fmla="*/ 97546 w 176527"/>
                <a:gd name="connsiteY9" fmla="*/ 20453 h 52549"/>
                <a:gd name="connsiteX10" fmla="*/ 113594 w 176527"/>
                <a:gd name="connsiteY10" fmla="*/ 36501 h 52549"/>
                <a:gd name="connsiteX11" fmla="*/ 97546 w 176527"/>
                <a:gd name="connsiteY11" fmla="*/ 52549 h 52549"/>
                <a:gd name="connsiteX12" fmla="*/ 71115 w 176527"/>
                <a:gd name="connsiteY12" fmla="*/ 52549 h 52549"/>
                <a:gd name="connsiteX13" fmla="*/ 66709 w 176527"/>
                <a:gd name="connsiteY13" fmla="*/ 48144 h 52549"/>
                <a:gd name="connsiteX14" fmla="*/ 66709 w 176527"/>
                <a:gd name="connsiteY14" fmla="*/ 42480 h 52549"/>
                <a:gd name="connsiteX15" fmla="*/ 68283 w 176527"/>
                <a:gd name="connsiteY15" fmla="*/ 40906 h 52549"/>
                <a:gd name="connsiteX16" fmla="*/ 91568 w 176527"/>
                <a:gd name="connsiteY16" fmla="*/ 40906 h 52549"/>
                <a:gd name="connsiteX17" fmla="*/ 95973 w 176527"/>
                <a:gd name="connsiteY17" fmla="*/ 36501 h 52549"/>
                <a:gd name="connsiteX18" fmla="*/ 91568 w 176527"/>
                <a:gd name="connsiteY18" fmla="*/ 32096 h 52549"/>
                <a:gd name="connsiteX19" fmla="*/ 69541 w 176527"/>
                <a:gd name="connsiteY19" fmla="*/ 32096 h 52549"/>
                <a:gd name="connsiteX20" fmla="*/ 60101 w 176527"/>
                <a:gd name="connsiteY20" fmla="*/ 29578 h 52549"/>
                <a:gd name="connsiteX21" fmla="*/ 33984 w 176527"/>
                <a:gd name="connsiteY21" fmla="*/ 52549 h 52549"/>
                <a:gd name="connsiteX22" fmla="*/ 1573 w 176527"/>
                <a:gd name="connsiteY22" fmla="*/ 52549 h 52549"/>
                <a:gd name="connsiteX23" fmla="*/ 0 w 176527"/>
                <a:gd name="connsiteY23" fmla="*/ 50976 h 52549"/>
                <a:gd name="connsiteX24" fmla="*/ 0 w 176527"/>
                <a:gd name="connsiteY24" fmla="*/ 21712 h 52549"/>
                <a:gd name="connsiteX25" fmla="*/ 1573 w 176527"/>
                <a:gd name="connsiteY25" fmla="*/ 20139 h 52549"/>
                <a:gd name="connsiteX26" fmla="*/ 13216 w 176527"/>
                <a:gd name="connsiteY26" fmla="*/ 20139 h 52549"/>
                <a:gd name="connsiteX27" fmla="*/ 17621 w 176527"/>
                <a:gd name="connsiteY27" fmla="*/ 24544 h 52549"/>
                <a:gd name="connsiteX28" fmla="*/ 17621 w 176527"/>
                <a:gd name="connsiteY28" fmla="*/ 39018 h 52549"/>
                <a:gd name="connsiteX29" fmla="*/ 17621 w 176527"/>
                <a:gd name="connsiteY29" fmla="*/ 39018 h 52549"/>
                <a:gd name="connsiteX30" fmla="*/ 19195 w 176527"/>
                <a:gd name="connsiteY30" fmla="*/ 40592 h 52549"/>
                <a:gd name="connsiteX31" fmla="*/ 29264 w 176527"/>
                <a:gd name="connsiteY31" fmla="*/ 40592 h 52549"/>
                <a:gd name="connsiteX32" fmla="*/ 43739 w 176527"/>
                <a:gd name="connsiteY32" fmla="*/ 26117 h 52549"/>
                <a:gd name="connsiteX33" fmla="*/ 29264 w 176527"/>
                <a:gd name="connsiteY33" fmla="*/ 11643 h 52549"/>
                <a:gd name="connsiteX34" fmla="*/ 1573 w 176527"/>
                <a:gd name="connsiteY34" fmla="*/ 11643 h 52549"/>
                <a:gd name="connsiteX35" fmla="*/ 0 w 176527"/>
                <a:gd name="connsiteY35" fmla="*/ 10069 h 52549"/>
                <a:gd name="connsiteX36" fmla="*/ 0 w 176527"/>
                <a:gd name="connsiteY36" fmla="*/ 4405 h 52549"/>
                <a:gd name="connsiteX37" fmla="*/ 4405 w 176527"/>
                <a:gd name="connsiteY37" fmla="*/ 0 h 52549"/>
                <a:gd name="connsiteX38" fmla="*/ 34613 w 176527"/>
                <a:gd name="connsiteY38" fmla="*/ 0 h 52549"/>
                <a:gd name="connsiteX39" fmla="*/ 55381 w 176527"/>
                <a:gd name="connsiteY39" fmla="*/ 8811 h 52549"/>
                <a:gd name="connsiteX40" fmla="*/ 70171 w 176527"/>
                <a:gd name="connsiteY40" fmla="*/ 0 h 52549"/>
                <a:gd name="connsiteX41" fmla="*/ 113280 w 176527"/>
                <a:gd name="connsiteY41" fmla="*/ 0 h 52549"/>
                <a:gd name="connsiteX42" fmla="*/ 127754 w 176527"/>
                <a:gd name="connsiteY42" fmla="*/ 7867 h 52549"/>
                <a:gd name="connsiteX43" fmla="*/ 141600 w 176527"/>
                <a:gd name="connsiteY43" fmla="*/ 37130 h 52549"/>
                <a:gd name="connsiteX44" fmla="*/ 142229 w 176527"/>
                <a:gd name="connsiteY44" fmla="*/ 37445 h 52549"/>
                <a:gd name="connsiteX45" fmla="*/ 142858 w 176527"/>
                <a:gd name="connsiteY45" fmla="*/ 37130 h 52549"/>
                <a:gd name="connsiteX46" fmla="*/ 160165 w 176527"/>
                <a:gd name="connsiteY46" fmla="*/ 629 h 52549"/>
                <a:gd name="connsiteX47" fmla="*/ 161738 w 176527"/>
                <a:gd name="connsiteY47" fmla="*/ 0 h 52549"/>
                <a:gd name="connsiteX48" fmla="*/ 174954 w 176527"/>
                <a:gd name="connsiteY48" fmla="*/ 0 h 52549"/>
                <a:gd name="connsiteX49" fmla="*/ 176528 w 176527"/>
                <a:gd name="connsiteY49" fmla="*/ 1573 h 52549"/>
                <a:gd name="connsiteX50" fmla="*/ 176528 w 176527"/>
                <a:gd name="connsiteY50" fmla="*/ 2203 h 52549"/>
                <a:gd name="connsiteX51" fmla="*/ 153872 w 176527"/>
                <a:gd name="connsiteY51" fmla="*/ 49088 h 52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6527" h="52549">
                  <a:moveTo>
                    <a:pt x="153872" y="49088"/>
                  </a:moveTo>
                  <a:cubicBezTo>
                    <a:pt x="153242" y="50346"/>
                    <a:pt x="151669" y="52234"/>
                    <a:pt x="148522" y="52234"/>
                  </a:cubicBezTo>
                  <a:lnTo>
                    <a:pt x="136565" y="52234"/>
                  </a:lnTo>
                  <a:cubicBezTo>
                    <a:pt x="133733" y="52234"/>
                    <a:pt x="131845" y="50346"/>
                    <a:pt x="131530" y="49088"/>
                  </a:cubicBezTo>
                  <a:lnTo>
                    <a:pt x="114853" y="15733"/>
                  </a:lnTo>
                  <a:cubicBezTo>
                    <a:pt x="113280" y="12587"/>
                    <a:pt x="109818" y="11643"/>
                    <a:pt x="106986" y="11643"/>
                  </a:cubicBezTo>
                  <a:lnTo>
                    <a:pt x="77093" y="11643"/>
                  </a:lnTo>
                  <a:cubicBezTo>
                    <a:pt x="74261" y="11643"/>
                    <a:pt x="72688" y="13531"/>
                    <a:pt x="72688" y="16048"/>
                  </a:cubicBezTo>
                  <a:cubicBezTo>
                    <a:pt x="72688" y="18880"/>
                    <a:pt x="74576" y="20453"/>
                    <a:pt x="77093" y="20453"/>
                  </a:cubicBezTo>
                  <a:lnTo>
                    <a:pt x="97546" y="20453"/>
                  </a:lnTo>
                  <a:cubicBezTo>
                    <a:pt x="106357" y="20453"/>
                    <a:pt x="113594" y="25803"/>
                    <a:pt x="113594" y="36501"/>
                  </a:cubicBezTo>
                  <a:cubicBezTo>
                    <a:pt x="113594" y="47200"/>
                    <a:pt x="106357" y="52549"/>
                    <a:pt x="97546" y="52549"/>
                  </a:cubicBezTo>
                  <a:lnTo>
                    <a:pt x="71115" y="52549"/>
                  </a:lnTo>
                  <a:cubicBezTo>
                    <a:pt x="68597" y="52549"/>
                    <a:pt x="66709" y="51290"/>
                    <a:pt x="66709" y="48144"/>
                  </a:cubicBezTo>
                  <a:lnTo>
                    <a:pt x="66709" y="42480"/>
                  </a:lnTo>
                  <a:cubicBezTo>
                    <a:pt x="66709" y="41536"/>
                    <a:pt x="67339" y="40906"/>
                    <a:pt x="68283" y="40906"/>
                  </a:cubicBezTo>
                  <a:lnTo>
                    <a:pt x="91568" y="40906"/>
                  </a:lnTo>
                  <a:cubicBezTo>
                    <a:pt x="94085" y="40906"/>
                    <a:pt x="95973" y="39333"/>
                    <a:pt x="95973" y="36501"/>
                  </a:cubicBezTo>
                  <a:cubicBezTo>
                    <a:pt x="95973" y="33669"/>
                    <a:pt x="94085" y="32096"/>
                    <a:pt x="91568" y="32096"/>
                  </a:cubicBezTo>
                  <a:lnTo>
                    <a:pt x="69541" y="32096"/>
                  </a:lnTo>
                  <a:cubicBezTo>
                    <a:pt x="65765" y="32096"/>
                    <a:pt x="62619" y="31152"/>
                    <a:pt x="60101" y="29578"/>
                  </a:cubicBezTo>
                  <a:cubicBezTo>
                    <a:pt x="58843" y="43738"/>
                    <a:pt x="48773" y="52549"/>
                    <a:pt x="33984" y="52549"/>
                  </a:cubicBezTo>
                  <a:lnTo>
                    <a:pt x="1573" y="52549"/>
                  </a:lnTo>
                  <a:cubicBezTo>
                    <a:pt x="629" y="52549"/>
                    <a:pt x="0" y="51920"/>
                    <a:pt x="0" y="50976"/>
                  </a:cubicBezTo>
                  <a:lnTo>
                    <a:pt x="0" y="21712"/>
                  </a:lnTo>
                  <a:cubicBezTo>
                    <a:pt x="0" y="20768"/>
                    <a:pt x="629" y="20139"/>
                    <a:pt x="1573" y="20139"/>
                  </a:cubicBezTo>
                  <a:lnTo>
                    <a:pt x="13216" y="20139"/>
                  </a:lnTo>
                  <a:cubicBezTo>
                    <a:pt x="16363" y="20139"/>
                    <a:pt x="17621" y="22027"/>
                    <a:pt x="17621" y="24544"/>
                  </a:cubicBezTo>
                  <a:lnTo>
                    <a:pt x="17621" y="39018"/>
                  </a:lnTo>
                  <a:lnTo>
                    <a:pt x="17621" y="39018"/>
                  </a:lnTo>
                  <a:cubicBezTo>
                    <a:pt x="17621" y="39962"/>
                    <a:pt x="18251" y="40592"/>
                    <a:pt x="19195" y="40592"/>
                  </a:cubicBezTo>
                  <a:cubicBezTo>
                    <a:pt x="22341" y="40592"/>
                    <a:pt x="29264" y="40592"/>
                    <a:pt x="29264" y="40592"/>
                  </a:cubicBezTo>
                  <a:cubicBezTo>
                    <a:pt x="37131" y="40592"/>
                    <a:pt x="43739" y="35872"/>
                    <a:pt x="43739" y="26117"/>
                  </a:cubicBezTo>
                  <a:cubicBezTo>
                    <a:pt x="43739" y="16363"/>
                    <a:pt x="37131" y="11643"/>
                    <a:pt x="29264" y="11643"/>
                  </a:cubicBezTo>
                  <a:lnTo>
                    <a:pt x="1573" y="11643"/>
                  </a:lnTo>
                  <a:cubicBezTo>
                    <a:pt x="629" y="11643"/>
                    <a:pt x="0" y="11013"/>
                    <a:pt x="0" y="10069"/>
                  </a:cubicBezTo>
                  <a:lnTo>
                    <a:pt x="0" y="4405"/>
                  </a:lnTo>
                  <a:cubicBezTo>
                    <a:pt x="0" y="1259"/>
                    <a:pt x="2203" y="0"/>
                    <a:pt x="4405" y="0"/>
                  </a:cubicBezTo>
                  <a:lnTo>
                    <a:pt x="34613" y="0"/>
                  </a:lnTo>
                  <a:cubicBezTo>
                    <a:pt x="43109" y="0"/>
                    <a:pt x="50661" y="3147"/>
                    <a:pt x="55381" y="8811"/>
                  </a:cubicBezTo>
                  <a:cubicBezTo>
                    <a:pt x="57584" y="3147"/>
                    <a:pt x="63248" y="0"/>
                    <a:pt x="70171" y="0"/>
                  </a:cubicBezTo>
                  <a:lnTo>
                    <a:pt x="113280" y="0"/>
                  </a:lnTo>
                  <a:cubicBezTo>
                    <a:pt x="118629" y="0"/>
                    <a:pt x="124608" y="1888"/>
                    <a:pt x="127754" y="7867"/>
                  </a:cubicBezTo>
                  <a:lnTo>
                    <a:pt x="141600" y="37130"/>
                  </a:lnTo>
                  <a:cubicBezTo>
                    <a:pt x="141600" y="37445"/>
                    <a:pt x="141914" y="37445"/>
                    <a:pt x="142229" y="37445"/>
                  </a:cubicBezTo>
                  <a:cubicBezTo>
                    <a:pt x="142544" y="37445"/>
                    <a:pt x="142858" y="37445"/>
                    <a:pt x="142858" y="37130"/>
                  </a:cubicBezTo>
                  <a:cubicBezTo>
                    <a:pt x="142858" y="37130"/>
                    <a:pt x="160165" y="944"/>
                    <a:pt x="160165" y="629"/>
                  </a:cubicBezTo>
                  <a:cubicBezTo>
                    <a:pt x="160480" y="629"/>
                    <a:pt x="160794" y="0"/>
                    <a:pt x="161738" y="0"/>
                  </a:cubicBezTo>
                  <a:lnTo>
                    <a:pt x="174954" y="0"/>
                  </a:lnTo>
                  <a:cubicBezTo>
                    <a:pt x="175898" y="0"/>
                    <a:pt x="176528" y="629"/>
                    <a:pt x="176528" y="1573"/>
                  </a:cubicBezTo>
                  <a:cubicBezTo>
                    <a:pt x="176528" y="1888"/>
                    <a:pt x="176528" y="2203"/>
                    <a:pt x="176528" y="2203"/>
                  </a:cubicBezTo>
                  <a:lnTo>
                    <a:pt x="153872" y="49088"/>
                  </a:lnTo>
                  <a:close/>
                </a:path>
              </a:pathLst>
            </a:custGeom>
            <a:solidFill>
              <a:schemeClr val="bg1"/>
            </a:solidFill>
            <a:ln w="56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7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6" name="Rectangle 220">
            <a:extLst>
              <a:ext uri="{FF2B5EF4-FFF2-40B4-BE49-F238E27FC236}">
                <a16:creationId xmlns:a16="http://schemas.microsoft.com/office/drawing/2014/main" id="{831C51CF-0DFB-19AE-1DD3-EB96F785F250}"/>
              </a:ext>
            </a:extLst>
          </p:cNvPr>
          <p:cNvSpPr/>
          <p:nvPr/>
        </p:nvSpPr>
        <p:spPr>
          <a:xfrm>
            <a:off x="2449268" y="2383399"/>
            <a:ext cx="1108387" cy="53081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75,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Employees</a:t>
            </a:r>
          </a:p>
        </p:txBody>
      </p:sp>
      <p:grpSp>
        <p:nvGrpSpPr>
          <p:cNvPr id="37" name="Graphic 157">
            <a:extLst>
              <a:ext uri="{FF2B5EF4-FFF2-40B4-BE49-F238E27FC236}">
                <a16:creationId xmlns:a16="http://schemas.microsoft.com/office/drawing/2014/main" id="{8E943E7E-C967-6EA7-718A-010EC11AE5F2}"/>
              </a:ext>
            </a:extLst>
          </p:cNvPr>
          <p:cNvGrpSpPr/>
          <p:nvPr/>
        </p:nvGrpSpPr>
        <p:grpSpPr>
          <a:xfrm>
            <a:off x="1450625" y="2463246"/>
            <a:ext cx="701604" cy="371123"/>
            <a:chOff x="1474693" y="2681065"/>
            <a:chExt cx="768196" cy="406347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7331354-B344-26DA-1190-3C181BA0823D}"/>
                </a:ext>
              </a:extLst>
            </p:cNvPr>
            <p:cNvSpPr/>
            <p:nvPr/>
          </p:nvSpPr>
          <p:spPr>
            <a:xfrm>
              <a:off x="2037805" y="2901429"/>
              <a:ext cx="205084" cy="132208"/>
            </a:xfrm>
            <a:custGeom>
              <a:avLst/>
              <a:gdLst>
                <a:gd name="connsiteX0" fmla="*/ 0 w 205084"/>
                <a:gd name="connsiteY0" fmla="*/ 27732 h 132208"/>
                <a:gd name="connsiteX1" fmla="*/ 28376 w 205084"/>
                <a:gd name="connsiteY1" fmla="*/ 0 h 132208"/>
                <a:gd name="connsiteX2" fmla="*/ 46434 w 205084"/>
                <a:gd name="connsiteY2" fmla="*/ 12253 h 132208"/>
                <a:gd name="connsiteX3" fmla="*/ 70296 w 205084"/>
                <a:gd name="connsiteY3" fmla="*/ 27732 h 132208"/>
                <a:gd name="connsiteX4" fmla="*/ 111571 w 205084"/>
                <a:gd name="connsiteY4" fmla="*/ 0 h 132208"/>
                <a:gd name="connsiteX5" fmla="*/ 140592 w 205084"/>
                <a:gd name="connsiteY5" fmla="*/ 27732 h 132208"/>
                <a:gd name="connsiteX6" fmla="*/ 181222 w 205084"/>
                <a:gd name="connsiteY6" fmla="*/ 41275 h 132208"/>
                <a:gd name="connsiteX7" fmla="*/ 194766 w 205084"/>
                <a:gd name="connsiteY7" fmla="*/ 58043 h 132208"/>
                <a:gd name="connsiteX8" fmla="*/ 195411 w 205084"/>
                <a:gd name="connsiteY8" fmla="*/ 62557 h 132208"/>
                <a:gd name="connsiteX9" fmla="*/ 197990 w 205084"/>
                <a:gd name="connsiteY9" fmla="*/ 79970 h 132208"/>
                <a:gd name="connsiteX10" fmla="*/ 200570 w 205084"/>
                <a:gd name="connsiteY10" fmla="*/ 97383 h 132208"/>
                <a:gd name="connsiteX11" fmla="*/ 205084 w 205084"/>
                <a:gd name="connsiteY11" fmla="*/ 132208 h 132208"/>
                <a:gd name="connsiteX12" fmla="*/ 32246 w 205084"/>
                <a:gd name="connsiteY12" fmla="*/ 132208 h 13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084" h="132208">
                  <a:moveTo>
                    <a:pt x="0" y="27732"/>
                  </a:moveTo>
                  <a:lnTo>
                    <a:pt x="28376" y="0"/>
                  </a:lnTo>
                  <a:lnTo>
                    <a:pt x="46434" y="12253"/>
                  </a:lnTo>
                  <a:lnTo>
                    <a:pt x="70296" y="27732"/>
                  </a:lnTo>
                  <a:lnTo>
                    <a:pt x="111571" y="0"/>
                  </a:lnTo>
                  <a:lnTo>
                    <a:pt x="140592" y="27732"/>
                  </a:lnTo>
                  <a:lnTo>
                    <a:pt x="181222" y="41275"/>
                  </a:lnTo>
                  <a:cubicBezTo>
                    <a:pt x="188961" y="43854"/>
                    <a:pt x="194121" y="50304"/>
                    <a:pt x="194766" y="58043"/>
                  </a:cubicBezTo>
                  <a:lnTo>
                    <a:pt x="195411" y="62557"/>
                  </a:lnTo>
                  <a:lnTo>
                    <a:pt x="197990" y="79970"/>
                  </a:lnTo>
                  <a:lnTo>
                    <a:pt x="200570" y="97383"/>
                  </a:lnTo>
                  <a:lnTo>
                    <a:pt x="205084" y="132208"/>
                  </a:lnTo>
                  <a:lnTo>
                    <a:pt x="32246" y="132208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5081613-34B9-76BD-7258-55F31BE8E4D1}"/>
                </a:ext>
              </a:extLst>
            </p:cNvPr>
            <p:cNvSpPr/>
            <p:nvPr/>
          </p:nvSpPr>
          <p:spPr>
            <a:xfrm>
              <a:off x="1763665" y="2681065"/>
              <a:ext cx="187671" cy="203149"/>
            </a:xfrm>
            <a:custGeom>
              <a:avLst/>
              <a:gdLst>
                <a:gd name="connsiteX0" fmla="*/ 127049 w 187671"/>
                <a:gd name="connsiteY0" fmla="*/ 196055 h 203149"/>
                <a:gd name="connsiteX1" fmla="*/ 187672 w 187671"/>
                <a:gd name="connsiteY1" fmla="*/ 101252 h 203149"/>
                <a:gd name="connsiteX2" fmla="*/ 94158 w 187671"/>
                <a:gd name="connsiteY2" fmla="*/ 0 h 203149"/>
                <a:gd name="connsiteX3" fmla="*/ 0 w 187671"/>
                <a:gd name="connsiteY3" fmla="*/ 101252 h 203149"/>
                <a:gd name="connsiteX4" fmla="*/ 61267 w 187671"/>
                <a:gd name="connsiteY4" fmla="*/ 196055 h 203149"/>
                <a:gd name="connsiteX5" fmla="*/ 94158 w 187671"/>
                <a:gd name="connsiteY5" fmla="*/ 203149 h 203149"/>
                <a:gd name="connsiteX6" fmla="*/ 127049 w 187671"/>
                <a:gd name="connsiteY6" fmla="*/ 196055 h 203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671" h="203149">
                  <a:moveTo>
                    <a:pt x="127049" y="196055"/>
                  </a:moveTo>
                  <a:cubicBezTo>
                    <a:pt x="162520" y="181222"/>
                    <a:pt x="187672" y="144462"/>
                    <a:pt x="187672" y="101252"/>
                  </a:cubicBezTo>
                  <a:cubicBezTo>
                    <a:pt x="187672" y="45144"/>
                    <a:pt x="145752" y="0"/>
                    <a:pt x="94158" y="0"/>
                  </a:cubicBezTo>
                  <a:cubicBezTo>
                    <a:pt x="42565" y="0"/>
                    <a:pt x="0" y="45144"/>
                    <a:pt x="0" y="101252"/>
                  </a:cubicBezTo>
                  <a:cubicBezTo>
                    <a:pt x="0" y="145107"/>
                    <a:pt x="25152" y="181867"/>
                    <a:pt x="61267" y="196055"/>
                  </a:cubicBezTo>
                  <a:cubicBezTo>
                    <a:pt x="61267" y="196055"/>
                    <a:pt x="71586" y="203149"/>
                    <a:pt x="94158" y="203149"/>
                  </a:cubicBezTo>
                  <a:cubicBezTo>
                    <a:pt x="110926" y="203149"/>
                    <a:pt x="127049" y="196055"/>
                    <a:pt x="127049" y="196055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212FBFD-EA68-852D-50E5-EACDACAF25F8}"/>
                </a:ext>
              </a:extLst>
            </p:cNvPr>
            <p:cNvSpPr/>
            <p:nvPr/>
          </p:nvSpPr>
          <p:spPr>
            <a:xfrm>
              <a:off x="2041029" y="2729138"/>
              <a:ext cx="135433" cy="147686"/>
            </a:xfrm>
            <a:custGeom>
              <a:avLst/>
              <a:gdLst>
                <a:gd name="connsiteX0" fmla="*/ 91579 w 135433"/>
                <a:gd name="connsiteY0" fmla="*/ 141882 h 147686"/>
                <a:gd name="connsiteX1" fmla="*/ 135433 w 135433"/>
                <a:gd name="connsiteY1" fmla="*/ 73521 h 147686"/>
                <a:gd name="connsiteX2" fmla="*/ 67717 w 135433"/>
                <a:gd name="connsiteY2" fmla="*/ 0 h 147686"/>
                <a:gd name="connsiteX3" fmla="*/ 0 w 135433"/>
                <a:gd name="connsiteY3" fmla="*/ 73521 h 147686"/>
                <a:gd name="connsiteX4" fmla="*/ 43854 w 135433"/>
                <a:gd name="connsiteY4" fmla="*/ 142527 h 147686"/>
                <a:gd name="connsiteX5" fmla="*/ 67717 w 135433"/>
                <a:gd name="connsiteY5" fmla="*/ 147686 h 147686"/>
                <a:gd name="connsiteX6" fmla="*/ 91579 w 135433"/>
                <a:gd name="connsiteY6" fmla="*/ 141882 h 14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433" h="147686">
                  <a:moveTo>
                    <a:pt x="91579" y="141882"/>
                  </a:moveTo>
                  <a:cubicBezTo>
                    <a:pt x="117375" y="131563"/>
                    <a:pt x="135433" y="104477"/>
                    <a:pt x="135433" y="73521"/>
                  </a:cubicBezTo>
                  <a:cubicBezTo>
                    <a:pt x="135433" y="32891"/>
                    <a:pt x="105122" y="0"/>
                    <a:pt x="67717" y="0"/>
                  </a:cubicBezTo>
                  <a:cubicBezTo>
                    <a:pt x="30311" y="0"/>
                    <a:pt x="0" y="32891"/>
                    <a:pt x="0" y="73521"/>
                  </a:cubicBezTo>
                  <a:cubicBezTo>
                    <a:pt x="0" y="105122"/>
                    <a:pt x="18058" y="131563"/>
                    <a:pt x="43854" y="142527"/>
                  </a:cubicBezTo>
                  <a:cubicBezTo>
                    <a:pt x="43854" y="142527"/>
                    <a:pt x="51594" y="147686"/>
                    <a:pt x="67717" y="147686"/>
                  </a:cubicBezTo>
                  <a:cubicBezTo>
                    <a:pt x="79970" y="147041"/>
                    <a:pt x="91579" y="141882"/>
                    <a:pt x="91579" y="141882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9D3C8E3-E517-B144-C400-E4834A15DB1C}"/>
                </a:ext>
              </a:extLst>
            </p:cNvPr>
            <p:cNvSpPr/>
            <p:nvPr/>
          </p:nvSpPr>
          <p:spPr>
            <a:xfrm>
              <a:off x="1539582" y="2730030"/>
              <a:ext cx="136077" cy="147686"/>
            </a:xfrm>
            <a:custGeom>
              <a:avLst/>
              <a:gdLst>
                <a:gd name="connsiteX0" fmla="*/ 92223 w 136077"/>
                <a:gd name="connsiteY0" fmla="*/ 141882 h 147686"/>
                <a:gd name="connsiteX1" fmla="*/ 136078 w 136077"/>
                <a:gd name="connsiteY1" fmla="*/ 73521 h 147686"/>
                <a:gd name="connsiteX2" fmla="*/ 68361 w 136077"/>
                <a:gd name="connsiteY2" fmla="*/ 0 h 147686"/>
                <a:gd name="connsiteX3" fmla="*/ 0 w 136077"/>
                <a:gd name="connsiteY3" fmla="*/ 73521 h 147686"/>
                <a:gd name="connsiteX4" fmla="*/ 43855 w 136077"/>
                <a:gd name="connsiteY4" fmla="*/ 142527 h 147686"/>
                <a:gd name="connsiteX5" fmla="*/ 67717 w 136077"/>
                <a:gd name="connsiteY5" fmla="*/ 147686 h 147686"/>
                <a:gd name="connsiteX6" fmla="*/ 92223 w 136077"/>
                <a:gd name="connsiteY6" fmla="*/ 141882 h 14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077" h="147686">
                  <a:moveTo>
                    <a:pt x="92223" y="141882"/>
                  </a:moveTo>
                  <a:cubicBezTo>
                    <a:pt x="118020" y="131563"/>
                    <a:pt x="136078" y="104477"/>
                    <a:pt x="136078" y="73521"/>
                  </a:cubicBezTo>
                  <a:cubicBezTo>
                    <a:pt x="136078" y="32891"/>
                    <a:pt x="105767" y="0"/>
                    <a:pt x="68361" y="0"/>
                  </a:cubicBezTo>
                  <a:cubicBezTo>
                    <a:pt x="30956" y="0"/>
                    <a:pt x="0" y="32891"/>
                    <a:pt x="0" y="73521"/>
                  </a:cubicBezTo>
                  <a:cubicBezTo>
                    <a:pt x="0" y="105122"/>
                    <a:pt x="18058" y="131563"/>
                    <a:pt x="43855" y="142527"/>
                  </a:cubicBezTo>
                  <a:cubicBezTo>
                    <a:pt x="43855" y="142527"/>
                    <a:pt x="51594" y="147686"/>
                    <a:pt x="67717" y="147686"/>
                  </a:cubicBezTo>
                  <a:cubicBezTo>
                    <a:pt x="80615" y="147041"/>
                    <a:pt x="92223" y="141882"/>
                    <a:pt x="92223" y="141882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69CC75FF-6B92-0392-8A87-5C3CE36CE16B}"/>
                </a:ext>
              </a:extLst>
            </p:cNvPr>
            <p:cNvSpPr/>
            <p:nvPr/>
          </p:nvSpPr>
          <p:spPr>
            <a:xfrm>
              <a:off x="1474693" y="2901429"/>
              <a:ext cx="205084" cy="132853"/>
            </a:xfrm>
            <a:custGeom>
              <a:avLst/>
              <a:gdLst>
                <a:gd name="connsiteX0" fmla="*/ 170259 w 205084"/>
                <a:gd name="connsiteY0" fmla="*/ 132853 h 132853"/>
                <a:gd name="connsiteX1" fmla="*/ 65137 w 205084"/>
                <a:gd name="connsiteY1" fmla="*/ 132853 h 132853"/>
                <a:gd name="connsiteX2" fmla="*/ 29666 w 205084"/>
                <a:gd name="connsiteY2" fmla="*/ 132853 h 132853"/>
                <a:gd name="connsiteX3" fmla="*/ 0 w 205084"/>
                <a:gd name="connsiteY3" fmla="*/ 132853 h 132853"/>
                <a:gd name="connsiteX4" fmla="*/ 10964 w 205084"/>
                <a:gd name="connsiteY4" fmla="*/ 56108 h 132853"/>
                <a:gd name="connsiteX5" fmla="*/ 22572 w 205084"/>
                <a:gd name="connsiteY5" fmla="*/ 41920 h 132853"/>
                <a:gd name="connsiteX6" fmla="*/ 61912 w 205084"/>
                <a:gd name="connsiteY6" fmla="*/ 29021 h 132853"/>
                <a:gd name="connsiteX7" fmla="*/ 67072 w 205084"/>
                <a:gd name="connsiteY7" fmla="*/ 25797 h 132853"/>
                <a:gd name="connsiteX8" fmla="*/ 92868 w 205084"/>
                <a:gd name="connsiteY8" fmla="*/ 0 h 132853"/>
                <a:gd name="connsiteX9" fmla="*/ 110926 w 205084"/>
                <a:gd name="connsiteY9" fmla="*/ 12253 h 132853"/>
                <a:gd name="connsiteX10" fmla="*/ 134788 w 205084"/>
                <a:gd name="connsiteY10" fmla="*/ 27732 h 132853"/>
                <a:gd name="connsiteX11" fmla="*/ 176063 w 205084"/>
                <a:gd name="connsiteY11" fmla="*/ 0 h 132853"/>
                <a:gd name="connsiteX12" fmla="*/ 205084 w 205084"/>
                <a:gd name="connsiteY12" fmla="*/ 27732 h 13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5084" h="132853">
                  <a:moveTo>
                    <a:pt x="170259" y="132853"/>
                  </a:moveTo>
                  <a:lnTo>
                    <a:pt x="65137" y="132853"/>
                  </a:lnTo>
                  <a:lnTo>
                    <a:pt x="29666" y="132853"/>
                  </a:lnTo>
                  <a:lnTo>
                    <a:pt x="0" y="132853"/>
                  </a:lnTo>
                  <a:lnTo>
                    <a:pt x="10964" y="56108"/>
                  </a:lnTo>
                  <a:cubicBezTo>
                    <a:pt x="11609" y="49659"/>
                    <a:pt x="16123" y="43854"/>
                    <a:pt x="22572" y="41920"/>
                  </a:cubicBezTo>
                  <a:lnTo>
                    <a:pt x="61912" y="29021"/>
                  </a:lnTo>
                  <a:cubicBezTo>
                    <a:pt x="63847" y="28376"/>
                    <a:pt x="65782" y="27087"/>
                    <a:pt x="67072" y="25797"/>
                  </a:cubicBezTo>
                  <a:lnTo>
                    <a:pt x="92868" y="0"/>
                  </a:lnTo>
                  <a:lnTo>
                    <a:pt x="110926" y="12253"/>
                  </a:lnTo>
                  <a:lnTo>
                    <a:pt x="134788" y="27732"/>
                  </a:lnTo>
                  <a:lnTo>
                    <a:pt x="176063" y="0"/>
                  </a:lnTo>
                  <a:lnTo>
                    <a:pt x="205084" y="27732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7BC87DE-FCF7-3E18-3FA6-863B4AEF6F40}"/>
                </a:ext>
              </a:extLst>
            </p:cNvPr>
            <p:cNvSpPr/>
            <p:nvPr/>
          </p:nvSpPr>
          <p:spPr>
            <a:xfrm>
              <a:off x="1674666" y="2902966"/>
              <a:ext cx="365669" cy="184446"/>
            </a:xfrm>
            <a:custGeom>
              <a:avLst/>
              <a:gdLst>
                <a:gd name="connsiteX0" fmla="*/ 72876 w 365669"/>
                <a:gd name="connsiteY0" fmla="*/ 36115 h 184446"/>
                <a:gd name="connsiteX1" fmla="*/ 26442 w 365669"/>
                <a:gd name="connsiteY1" fmla="*/ 58043 h 184446"/>
                <a:gd name="connsiteX2" fmla="*/ 15478 w 365669"/>
                <a:gd name="connsiteY2" fmla="*/ 72876 h 184446"/>
                <a:gd name="connsiteX3" fmla="*/ 0 w 365669"/>
                <a:gd name="connsiteY3" fmla="*/ 182512 h 184446"/>
                <a:gd name="connsiteX4" fmla="*/ 365669 w 365669"/>
                <a:gd name="connsiteY4" fmla="*/ 184447 h 184446"/>
                <a:gd name="connsiteX5" fmla="*/ 359220 w 365669"/>
                <a:gd name="connsiteY5" fmla="*/ 136078 h 184446"/>
                <a:gd name="connsiteX6" fmla="*/ 355996 w 365669"/>
                <a:gd name="connsiteY6" fmla="*/ 111571 h 184446"/>
                <a:gd name="connsiteX7" fmla="*/ 352771 w 365669"/>
                <a:gd name="connsiteY7" fmla="*/ 87064 h 184446"/>
                <a:gd name="connsiteX8" fmla="*/ 351481 w 365669"/>
                <a:gd name="connsiteY8" fmla="*/ 74811 h 184446"/>
                <a:gd name="connsiteX9" fmla="*/ 338583 w 365669"/>
                <a:gd name="connsiteY9" fmla="*/ 58688 h 184446"/>
                <a:gd name="connsiteX10" fmla="*/ 276670 w 365669"/>
                <a:gd name="connsiteY10" fmla="*/ 38695 h 184446"/>
                <a:gd name="connsiteX11" fmla="*/ 236685 w 365669"/>
                <a:gd name="connsiteY11" fmla="*/ 0 h 184446"/>
                <a:gd name="connsiteX12" fmla="*/ 179288 w 365669"/>
                <a:gd name="connsiteY12" fmla="*/ 38695 h 184446"/>
                <a:gd name="connsiteX13" fmla="*/ 146397 w 365669"/>
                <a:gd name="connsiteY13" fmla="*/ 16768 h 184446"/>
                <a:gd name="connsiteX14" fmla="*/ 121890 w 365669"/>
                <a:gd name="connsiteY14" fmla="*/ 0 h 184446"/>
                <a:gd name="connsiteX15" fmla="*/ 72876 w 365669"/>
                <a:gd name="connsiteY15" fmla="*/ 36115 h 184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669" h="184446">
                  <a:moveTo>
                    <a:pt x="72876" y="36115"/>
                  </a:moveTo>
                  <a:lnTo>
                    <a:pt x="26442" y="58043"/>
                  </a:lnTo>
                  <a:cubicBezTo>
                    <a:pt x="20637" y="60622"/>
                    <a:pt x="16123" y="66427"/>
                    <a:pt x="15478" y="72876"/>
                  </a:cubicBezTo>
                  <a:lnTo>
                    <a:pt x="0" y="182512"/>
                  </a:lnTo>
                  <a:lnTo>
                    <a:pt x="365669" y="184447"/>
                  </a:lnTo>
                  <a:lnTo>
                    <a:pt x="359220" y="136078"/>
                  </a:lnTo>
                  <a:lnTo>
                    <a:pt x="355996" y="111571"/>
                  </a:lnTo>
                  <a:lnTo>
                    <a:pt x="352771" y="87064"/>
                  </a:lnTo>
                  <a:lnTo>
                    <a:pt x="351481" y="74811"/>
                  </a:lnTo>
                  <a:cubicBezTo>
                    <a:pt x="350836" y="67716"/>
                    <a:pt x="345677" y="61267"/>
                    <a:pt x="338583" y="58688"/>
                  </a:cubicBezTo>
                  <a:lnTo>
                    <a:pt x="276670" y="38695"/>
                  </a:lnTo>
                  <a:lnTo>
                    <a:pt x="236685" y="0"/>
                  </a:lnTo>
                  <a:lnTo>
                    <a:pt x="179288" y="38695"/>
                  </a:lnTo>
                  <a:lnTo>
                    <a:pt x="146397" y="16768"/>
                  </a:lnTo>
                  <a:lnTo>
                    <a:pt x="121890" y="0"/>
                  </a:lnTo>
                  <a:lnTo>
                    <a:pt x="72876" y="36115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4" name="Rectangle 220">
            <a:extLst>
              <a:ext uri="{FF2B5EF4-FFF2-40B4-BE49-F238E27FC236}">
                <a16:creationId xmlns:a16="http://schemas.microsoft.com/office/drawing/2014/main" id="{A37AA094-53C7-6748-A7DC-3E2CBAA4E278}"/>
              </a:ext>
            </a:extLst>
          </p:cNvPr>
          <p:cNvSpPr>
            <a:spLocks/>
          </p:cNvSpPr>
          <p:nvPr/>
        </p:nvSpPr>
        <p:spPr>
          <a:xfrm>
            <a:off x="2450814" y="4810904"/>
            <a:ext cx="1294747" cy="47349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+8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Countries</a:t>
            </a:r>
          </a:p>
        </p:txBody>
      </p:sp>
      <p:grpSp>
        <p:nvGrpSpPr>
          <p:cNvPr id="45" name="Graphic 217">
            <a:extLst>
              <a:ext uri="{FF2B5EF4-FFF2-40B4-BE49-F238E27FC236}">
                <a16:creationId xmlns:a16="http://schemas.microsoft.com/office/drawing/2014/main" id="{3886302D-9104-21B4-0514-D368AD92AC74}"/>
              </a:ext>
            </a:extLst>
          </p:cNvPr>
          <p:cNvGrpSpPr>
            <a:grpSpLocks/>
          </p:cNvGrpSpPr>
          <p:nvPr/>
        </p:nvGrpSpPr>
        <p:grpSpPr>
          <a:xfrm>
            <a:off x="1517872" y="4765509"/>
            <a:ext cx="564284" cy="564284"/>
            <a:chOff x="1080959" y="4935479"/>
            <a:chExt cx="617843" cy="617843"/>
          </a:xfrm>
          <a:noFill/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DBB8F3D-C530-6FCA-73B2-28F4D8179C6D}"/>
                </a:ext>
              </a:extLst>
            </p:cNvPr>
            <p:cNvSpPr/>
            <p:nvPr/>
          </p:nvSpPr>
          <p:spPr>
            <a:xfrm>
              <a:off x="1558456" y="5328043"/>
              <a:ext cx="119665" cy="129427"/>
            </a:xfrm>
            <a:custGeom>
              <a:avLst/>
              <a:gdLst>
                <a:gd name="connsiteX0" fmla="*/ 119666 w 119665"/>
                <a:gd name="connsiteY0" fmla="*/ 17186 h 129427"/>
                <a:gd name="connsiteX1" fmla="*/ 99071 w 119665"/>
                <a:gd name="connsiteY1" fmla="*/ 1740 h 129427"/>
                <a:gd name="connsiteX2" fmla="*/ 63030 w 119665"/>
                <a:gd name="connsiteY2" fmla="*/ 42930 h 129427"/>
                <a:gd name="connsiteX3" fmla="*/ 22870 w 119665"/>
                <a:gd name="connsiteY3" fmla="*/ 69703 h 129427"/>
                <a:gd name="connsiteX4" fmla="*/ 216 w 119665"/>
                <a:gd name="connsiteY4" fmla="*/ 101625 h 129427"/>
                <a:gd name="connsiteX5" fmla="*/ 37287 w 119665"/>
                <a:gd name="connsiteY5" fmla="*/ 129428 h 129427"/>
                <a:gd name="connsiteX6" fmla="*/ 54792 w 119665"/>
                <a:gd name="connsiteY6" fmla="*/ 125309 h 12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665" h="129427">
                  <a:moveTo>
                    <a:pt x="119666" y="17186"/>
                  </a:moveTo>
                  <a:cubicBezTo>
                    <a:pt x="119666" y="17186"/>
                    <a:pt x="107309" y="-6498"/>
                    <a:pt x="99071" y="1740"/>
                  </a:cubicBezTo>
                  <a:cubicBezTo>
                    <a:pt x="93922" y="5859"/>
                    <a:pt x="76417" y="31603"/>
                    <a:pt x="63030" y="42930"/>
                  </a:cubicBezTo>
                  <a:cubicBezTo>
                    <a:pt x="49644" y="55287"/>
                    <a:pt x="26989" y="65584"/>
                    <a:pt x="22870" y="69703"/>
                  </a:cubicBezTo>
                  <a:cubicBezTo>
                    <a:pt x="18751" y="73822"/>
                    <a:pt x="3305" y="90298"/>
                    <a:pt x="216" y="101625"/>
                  </a:cubicBezTo>
                  <a:cubicBezTo>
                    <a:pt x="-2873" y="112952"/>
                    <a:pt x="28019" y="129428"/>
                    <a:pt x="37287" y="129428"/>
                  </a:cubicBezTo>
                  <a:cubicBezTo>
                    <a:pt x="42435" y="129428"/>
                    <a:pt x="48614" y="127368"/>
                    <a:pt x="54792" y="125309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E218E1A-A09F-6A57-FF0F-7080ECB0BA0C}"/>
                </a:ext>
              </a:extLst>
            </p:cNvPr>
            <p:cNvSpPr/>
            <p:nvPr/>
          </p:nvSpPr>
          <p:spPr>
            <a:xfrm>
              <a:off x="1242040" y="4997444"/>
              <a:ext cx="437583" cy="446774"/>
            </a:xfrm>
            <a:custGeom>
              <a:avLst/>
              <a:gdLst>
                <a:gd name="connsiteX0" fmla="*/ 347996 w 437583"/>
                <a:gd name="connsiteY0" fmla="*/ 20414 h 446774"/>
                <a:gd name="connsiteX1" fmla="*/ 319164 w 437583"/>
                <a:gd name="connsiteY1" fmla="*/ 14235 h 446774"/>
                <a:gd name="connsiteX2" fmla="*/ 270766 w 437583"/>
                <a:gd name="connsiteY2" fmla="*/ 8057 h 446774"/>
                <a:gd name="connsiteX3" fmla="*/ 215160 w 437583"/>
                <a:gd name="connsiteY3" fmla="*/ 4968 h 446774"/>
                <a:gd name="connsiteX4" fmla="*/ 173970 w 437583"/>
                <a:gd name="connsiteY4" fmla="*/ 10116 h 446774"/>
                <a:gd name="connsiteX5" fmla="*/ 127632 w 437583"/>
                <a:gd name="connsiteY5" fmla="*/ 27622 h 446774"/>
                <a:gd name="connsiteX6" fmla="*/ 92621 w 437583"/>
                <a:gd name="connsiteY6" fmla="*/ 46157 h 446774"/>
                <a:gd name="connsiteX7" fmla="*/ 79234 w 437583"/>
                <a:gd name="connsiteY7" fmla="*/ 85287 h 446774"/>
                <a:gd name="connsiteX8" fmla="*/ 106008 w 437583"/>
                <a:gd name="connsiteY8" fmla="*/ 101763 h 446774"/>
                <a:gd name="connsiteX9" fmla="*/ 143078 w 437583"/>
                <a:gd name="connsiteY9" fmla="*/ 116179 h 446774"/>
                <a:gd name="connsiteX10" fmla="*/ 175000 w 437583"/>
                <a:gd name="connsiteY10" fmla="*/ 130596 h 446774"/>
                <a:gd name="connsiteX11" fmla="*/ 176030 w 437583"/>
                <a:gd name="connsiteY11" fmla="*/ 131625 h 446774"/>
                <a:gd name="connsiteX12" fmla="*/ 165733 w 437583"/>
                <a:gd name="connsiteY12" fmla="*/ 143982 h 446774"/>
                <a:gd name="connsiteX13" fmla="*/ 149257 w 437583"/>
                <a:gd name="connsiteY13" fmla="*/ 142953 h 446774"/>
                <a:gd name="connsiteX14" fmla="*/ 97770 w 437583"/>
                <a:gd name="connsiteY14" fmla="*/ 134715 h 446774"/>
                <a:gd name="connsiteX15" fmla="*/ 52461 w 437583"/>
                <a:gd name="connsiteY15" fmla="*/ 132655 h 446774"/>
                <a:gd name="connsiteX16" fmla="*/ 974 w 437583"/>
                <a:gd name="connsiteY16" fmla="*/ 226361 h 446774"/>
                <a:gd name="connsiteX17" fmla="*/ 22599 w 437583"/>
                <a:gd name="connsiteY17" fmla="*/ 277848 h 446774"/>
                <a:gd name="connsiteX18" fmla="*/ 63788 w 437583"/>
                <a:gd name="connsiteY18" fmla="*/ 270640 h 446774"/>
                <a:gd name="connsiteX19" fmla="*/ 75116 w 437583"/>
                <a:gd name="connsiteY19" fmla="*/ 302562 h 446774"/>
                <a:gd name="connsiteX20" fmla="*/ 82324 w 437583"/>
                <a:gd name="connsiteY20" fmla="*/ 370525 h 446774"/>
                <a:gd name="connsiteX21" fmla="*/ 116305 w 437583"/>
                <a:gd name="connsiteY21" fmla="*/ 446726 h 446774"/>
                <a:gd name="connsiteX22" fmla="*/ 146167 w 437583"/>
                <a:gd name="connsiteY22" fmla="*/ 424071 h 446774"/>
                <a:gd name="connsiteX23" fmla="*/ 163673 w 437583"/>
                <a:gd name="connsiteY23" fmla="*/ 397298 h 446774"/>
                <a:gd name="connsiteX24" fmla="*/ 187357 w 437583"/>
                <a:gd name="connsiteY24" fmla="*/ 371555 h 446774"/>
                <a:gd name="connsiteX25" fmla="*/ 208982 w 437583"/>
                <a:gd name="connsiteY25" fmla="*/ 301532 h 446774"/>
                <a:gd name="connsiteX26" fmla="*/ 215160 w 437583"/>
                <a:gd name="connsiteY26" fmla="*/ 277848 h 446774"/>
                <a:gd name="connsiteX27" fmla="*/ 218249 w 437583"/>
                <a:gd name="connsiteY27" fmla="*/ 258283 h 446774"/>
                <a:gd name="connsiteX28" fmla="*/ 205892 w 437583"/>
                <a:gd name="connsiteY28" fmla="*/ 254164 h 446774"/>
                <a:gd name="connsiteX29" fmla="*/ 186327 w 437583"/>
                <a:gd name="connsiteY29" fmla="*/ 232540 h 446774"/>
                <a:gd name="connsiteX30" fmla="*/ 175000 w 437583"/>
                <a:gd name="connsiteY30" fmla="*/ 207826 h 446774"/>
                <a:gd name="connsiteX31" fmla="*/ 196625 w 437583"/>
                <a:gd name="connsiteY31" fmla="*/ 190321 h 446774"/>
                <a:gd name="connsiteX32" fmla="*/ 249141 w 437583"/>
                <a:gd name="connsiteY32" fmla="*/ 227391 h 446774"/>
                <a:gd name="connsiteX33" fmla="*/ 250171 w 437583"/>
                <a:gd name="connsiteY33" fmla="*/ 187231 h 446774"/>
                <a:gd name="connsiteX34" fmla="*/ 249141 w 437583"/>
                <a:gd name="connsiteY34" fmla="*/ 178993 h 446774"/>
                <a:gd name="connsiteX35" fmla="*/ 276944 w 437583"/>
                <a:gd name="connsiteY35" fmla="*/ 190321 h 446774"/>
                <a:gd name="connsiteX36" fmla="*/ 291361 w 437583"/>
                <a:gd name="connsiteY36" fmla="*/ 219153 h 446774"/>
                <a:gd name="connsiteX37" fmla="*/ 290331 w 437583"/>
                <a:gd name="connsiteY37" fmla="*/ 250045 h 446774"/>
                <a:gd name="connsiteX38" fmla="*/ 317104 w 437583"/>
                <a:gd name="connsiteY38" fmla="*/ 250045 h 446774"/>
                <a:gd name="connsiteX39" fmla="*/ 338729 w 437583"/>
                <a:gd name="connsiteY39" fmla="*/ 202677 h 446774"/>
                <a:gd name="connsiteX40" fmla="*/ 361383 w 437583"/>
                <a:gd name="connsiteY40" fmla="*/ 232540 h 446774"/>
                <a:gd name="connsiteX41" fmla="*/ 381978 w 437583"/>
                <a:gd name="connsiteY41" fmla="*/ 250045 h 446774"/>
                <a:gd name="connsiteX42" fmla="*/ 390216 w 437583"/>
                <a:gd name="connsiteY42" fmla="*/ 226361 h 446774"/>
                <a:gd name="connsiteX43" fmla="*/ 386097 w 437583"/>
                <a:gd name="connsiteY43" fmla="*/ 207826 h 446774"/>
                <a:gd name="connsiteX44" fmla="*/ 404632 w 437583"/>
                <a:gd name="connsiteY44" fmla="*/ 198558 h 446774"/>
                <a:gd name="connsiteX45" fmla="*/ 386097 w 437583"/>
                <a:gd name="connsiteY45" fmla="*/ 139863 h 446774"/>
                <a:gd name="connsiteX46" fmla="*/ 404632 w 437583"/>
                <a:gd name="connsiteY46" fmla="*/ 134715 h 446774"/>
                <a:gd name="connsiteX47" fmla="*/ 437584 w 437583"/>
                <a:gd name="connsiteY47" fmla="*/ 145012 h 446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37583" h="446774">
                  <a:moveTo>
                    <a:pt x="347996" y="20414"/>
                  </a:moveTo>
                  <a:cubicBezTo>
                    <a:pt x="343877" y="19384"/>
                    <a:pt x="324312" y="15265"/>
                    <a:pt x="319164" y="14235"/>
                  </a:cubicBezTo>
                  <a:cubicBezTo>
                    <a:pt x="299599" y="8057"/>
                    <a:pt x="288271" y="17324"/>
                    <a:pt x="270766" y="8057"/>
                  </a:cubicBezTo>
                  <a:cubicBezTo>
                    <a:pt x="240903" y="-7389"/>
                    <a:pt x="216190" y="3938"/>
                    <a:pt x="215160" y="4968"/>
                  </a:cubicBezTo>
                  <a:cubicBezTo>
                    <a:pt x="205892" y="7027"/>
                    <a:pt x="184268" y="14235"/>
                    <a:pt x="173970" y="10116"/>
                  </a:cubicBezTo>
                  <a:cubicBezTo>
                    <a:pt x="164703" y="7027"/>
                    <a:pt x="143078" y="10116"/>
                    <a:pt x="127632" y="27622"/>
                  </a:cubicBezTo>
                  <a:cubicBezTo>
                    <a:pt x="118365" y="37919"/>
                    <a:pt x="99829" y="38949"/>
                    <a:pt x="92621" y="46157"/>
                  </a:cubicBezTo>
                  <a:cubicBezTo>
                    <a:pt x="84383" y="53365"/>
                    <a:pt x="77175" y="69841"/>
                    <a:pt x="79234" y="85287"/>
                  </a:cubicBezTo>
                  <a:cubicBezTo>
                    <a:pt x="81294" y="99704"/>
                    <a:pt x="88502" y="84257"/>
                    <a:pt x="106008" y="101763"/>
                  </a:cubicBezTo>
                  <a:cubicBezTo>
                    <a:pt x="110127" y="105882"/>
                    <a:pt x="129692" y="114120"/>
                    <a:pt x="143078" y="116179"/>
                  </a:cubicBezTo>
                  <a:cubicBezTo>
                    <a:pt x="155435" y="117209"/>
                    <a:pt x="166762" y="121328"/>
                    <a:pt x="175000" y="130596"/>
                  </a:cubicBezTo>
                  <a:cubicBezTo>
                    <a:pt x="175000" y="130596"/>
                    <a:pt x="176030" y="131625"/>
                    <a:pt x="176030" y="131625"/>
                  </a:cubicBezTo>
                  <a:cubicBezTo>
                    <a:pt x="183238" y="139863"/>
                    <a:pt x="173970" y="142953"/>
                    <a:pt x="165733" y="143982"/>
                  </a:cubicBezTo>
                  <a:cubicBezTo>
                    <a:pt x="157495" y="145012"/>
                    <a:pt x="157495" y="142953"/>
                    <a:pt x="149257" y="142953"/>
                  </a:cubicBezTo>
                  <a:cubicBezTo>
                    <a:pt x="142049" y="142953"/>
                    <a:pt x="116305" y="145012"/>
                    <a:pt x="97770" y="134715"/>
                  </a:cubicBezTo>
                  <a:cubicBezTo>
                    <a:pt x="79234" y="124417"/>
                    <a:pt x="70997" y="127506"/>
                    <a:pt x="52461" y="132655"/>
                  </a:cubicBezTo>
                  <a:cubicBezTo>
                    <a:pt x="24658" y="139863"/>
                    <a:pt x="5093" y="190321"/>
                    <a:pt x="974" y="226361"/>
                  </a:cubicBezTo>
                  <a:cubicBezTo>
                    <a:pt x="-3145" y="262402"/>
                    <a:pt x="6123" y="281967"/>
                    <a:pt x="22599" y="277848"/>
                  </a:cubicBezTo>
                  <a:cubicBezTo>
                    <a:pt x="33926" y="275789"/>
                    <a:pt x="52461" y="263432"/>
                    <a:pt x="63788" y="270640"/>
                  </a:cubicBezTo>
                  <a:cubicBezTo>
                    <a:pt x="74086" y="276819"/>
                    <a:pt x="74086" y="292265"/>
                    <a:pt x="75116" y="302562"/>
                  </a:cubicBezTo>
                  <a:cubicBezTo>
                    <a:pt x="76145" y="313889"/>
                    <a:pt x="82324" y="358168"/>
                    <a:pt x="82324" y="370525"/>
                  </a:cubicBezTo>
                  <a:cubicBezTo>
                    <a:pt x="82324" y="377733"/>
                    <a:pt x="99829" y="445696"/>
                    <a:pt x="116305" y="446726"/>
                  </a:cubicBezTo>
                  <a:cubicBezTo>
                    <a:pt x="129692" y="447755"/>
                    <a:pt x="139989" y="432309"/>
                    <a:pt x="146167" y="424071"/>
                  </a:cubicBezTo>
                  <a:cubicBezTo>
                    <a:pt x="154405" y="414804"/>
                    <a:pt x="159554" y="410685"/>
                    <a:pt x="163673" y="397298"/>
                  </a:cubicBezTo>
                  <a:cubicBezTo>
                    <a:pt x="165733" y="391120"/>
                    <a:pt x="184268" y="376703"/>
                    <a:pt x="187357" y="371555"/>
                  </a:cubicBezTo>
                  <a:cubicBezTo>
                    <a:pt x="191476" y="364346"/>
                    <a:pt x="195595" y="316978"/>
                    <a:pt x="208982" y="301532"/>
                  </a:cubicBezTo>
                  <a:cubicBezTo>
                    <a:pt x="215160" y="293294"/>
                    <a:pt x="210011" y="286086"/>
                    <a:pt x="215160" y="277848"/>
                  </a:cubicBezTo>
                  <a:cubicBezTo>
                    <a:pt x="218249" y="272700"/>
                    <a:pt x="223398" y="263432"/>
                    <a:pt x="218249" y="258283"/>
                  </a:cubicBezTo>
                  <a:cubicBezTo>
                    <a:pt x="215160" y="255194"/>
                    <a:pt x="210011" y="254164"/>
                    <a:pt x="205892" y="254164"/>
                  </a:cubicBezTo>
                  <a:cubicBezTo>
                    <a:pt x="195595" y="254164"/>
                    <a:pt x="189417" y="239748"/>
                    <a:pt x="186327" y="232540"/>
                  </a:cubicBezTo>
                  <a:cubicBezTo>
                    <a:pt x="182208" y="225332"/>
                    <a:pt x="176030" y="216064"/>
                    <a:pt x="175000" y="207826"/>
                  </a:cubicBezTo>
                  <a:cubicBezTo>
                    <a:pt x="171911" y="193410"/>
                    <a:pt x="192506" y="185172"/>
                    <a:pt x="196625" y="190321"/>
                  </a:cubicBezTo>
                  <a:cubicBezTo>
                    <a:pt x="202803" y="200618"/>
                    <a:pt x="241933" y="232540"/>
                    <a:pt x="249141" y="227391"/>
                  </a:cubicBezTo>
                  <a:cubicBezTo>
                    <a:pt x="257379" y="221213"/>
                    <a:pt x="256350" y="196499"/>
                    <a:pt x="250171" y="187231"/>
                  </a:cubicBezTo>
                  <a:cubicBezTo>
                    <a:pt x="246052" y="182083"/>
                    <a:pt x="239874" y="180023"/>
                    <a:pt x="249141" y="178993"/>
                  </a:cubicBezTo>
                  <a:cubicBezTo>
                    <a:pt x="262528" y="177964"/>
                    <a:pt x="267677" y="183112"/>
                    <a:pt x="276944" y="190321"/>
                  </a:cubicBezTo>
                  <a:cubicBezTo>
                    <a:pt x="285182" y="197529"/>
                    <a:pt x="288271" y="208856"/>
                    <a:pt x="291361" y="219153"/>
                  </a:cubicBezTo>
                  <a:cubicBezTo>
                    <a:pt x="294450" y="228421"/>
                    <a:pt x="287242" y="240778"/>
                    <a:pt x="290331" y="250045"/>
                  </a:cubicBezTo>
                  <a:cubicBezTo>
                    <a:pt x="293420" y="259313"/>
                    <a:pt x="309896" y="254164"/>
                    <a:pt x="317104" y="250045"/>
                  </a:cubicBezTo>
                  <a:cubicBezTo>
                    <a:pt x="324312" y="245926"/>
                    <a:pt x="325342" y="211945"/>
                    <a:pt x="338729" y="202677"/>
                  </a:cubicBezTo>
                  <a:cubicBezTo>
                    <a:pt x="335639" y="204737"/>
                    <a:pt x="359323" y="229451"/>
                    <a:pt x="361383" y="232540"/>
                  </a:cubicBezTo>
                  <a:cubicBezTo>
                    <a:pt x="366532" y="240778"/>
                    <a:pt x="366532" y="256224"/>
                    <a:pt x="381978" y="250045"/>
                  </a:cubicBezTo>
                  <a:cubicBezTo>
                    <a:pt x="394335" y="244897"/>
                    <a:pt x="395364" y="233570"/>
                    <a:pt x="390216" y="226361"/>
                  </a:cubicBezTo>
                  <a:cubicBezTo>
                    <a:pt x="386097" y="220183"/>
                    <a:pt x="379918" y="215034"/>
                    <a:pt x="386097" y="207826"/>
                  </a:cubicBezTo>
                  <a:cubicBezTo>
                    <a:pt x="391245" y="202677"/>
                    <a:pt x="399483" y="202677"/>
                    <a:pt x="404632" y="198558"/>
                  </a:cubicBezTo>
                  <a:cubicBezTo>
                    <a:pt x="422137" y="186202"/>
                    <a:pt x="394335" y="153250"/>
                    <a:pt x="386097" y="139863"/>
                  </a:cubicBezTo>
                  <a:cubicBezTo>
                    <a:pt x="385067" y="138834"/>
                    <a:pt x="394335" y="133685"/>
                    <a:pt x="404632" y="134715"/>
                  </a:cubicBezTo>
                  <a:cubicBezTo>
                    <a:pt x="418019" y="135744"/>
                    <a:pt x="433465" y="142953"/>
                    <a:pt x="437584" y="145012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57FF939-B2B8-9B79-E9D5-E2A64F49112A}"/>
                </a:ext>
              </a:extLst>
            </p:cNvPr>
            <p:cNvSpPr/>
            <p:nvPr/>
          </p:nvSpPr>
          <p:spPr>
            <a:xfrm>
              <a:off x="1188052" y="4969446"/>
              <a:ext cx="78413" cy="67444"/>
            </a:xfrm>
            <a:custGeom>
              <a:avLst/>
              <a:gdLst>
                <a:gd name="connsiteX0" fmla="*/ 0 w 78413"/>
                <a:gd name="connsiteY0" fmla="*/ 51501 h 67444"/>
                <a:gd name="connsiteX1" fmla="*/ 25743 w 78413"/>
                <a:gd name="connsiteY1" fmla="*/ 62828 h 67444"/>
                <a:gd name="connsiteX2" fmla="*/ 66933 w 78413"/>
                <a:gd name="connsiteY2" fmla="*/ 62828 h 67444"/>
                <a:gd name="connsiteX3" fmla="*/ 62814 w 78413"/>
                <a:gd name="connsiteY3" fmla="*/ 14 h 6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413" h="67444">
                  <a:moveTo>
                    <a:pt x="0" y="51501"/>
                  </a:moveTo>
                  <a:cubicBezTo>
                    <a:pt x="4119" y="49442"/>
                    <a:pt x="24714" y="62828"/>
                    <a:pt x="25743" y="62828"/>
                  </a:cubicBezTo>
                  <a:cubicBezTo>
                    <a:pt x="28833" y="64888"/>
                    <a:pt x="51487" y="72096"/>
                    <a:pt x="66933" y="62828"/>
                  </a:cubicBezTo>
                  <a:cubicBezTo>
                    <a:pt x="82379" y="53561"/>
                    <a:pt x="83409" y="-1015"/>
                    <a:pt x="62814" y="14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73B0F17-5E88-CEFF-93BC-DCCE7DFDCE8E}"/>
                </a:ext>
              </a:extLst>
            </p:cNvPr>
            <p:cNvSpPr/>
            <p:nvPr/>
          </p:nvSpPr>
          <p:spPr>
            <a:xfrm>
              <a:off x="1084048" y="5018501"/>
              <a:ext cx="134951" cy="186768"/>
            </a:xfrm>
            <a:custGeom>
              <a:avLst/>
              <a:gdLst>
                <a:gd name="connsiteX0" fmla="*/ 0 w 134951"/>
                <a:gd name="connsiteY0" fmla="*/ 186769 h 186768"/>
                <a:gd name="connsiteX1" fmla="*/ 53546 w 134951"/>
                <a:gd name="connsiteY1" fmla="*/ 141460 h 186768"/>
                <a:gd name="connsiteX2" fmla="*/ 99885 w 134951"/>
                <a:gd name="connsiteY2" fmla="*/ 127044 h 186768"/>
                <a:gd name="connsiteX3" fmla="*/ 90617 w 134951"/>
                <a:gd name="connsiteY3" fmla="*/ 107479 h 186768"/>
                <a:gd name="connsiteX4" fmla="*/ 125628 w 134951"/>
                <a:gd name="connsiteY4" fmla="*/ 95122 h 186768"/>
                <a:gd name="connsiteX5" fmla="*/ 134896 w 134951"/>
                <a:gd name="connsiteY5" fmla="*/ 73498 h 186768"/>
                <a:gd name="connsiteX6" fmla="*/ 106063 w 134951"/>
                <a:gd name="connsiteY6" fmla="*/ 42606 h 186768"/>
                <a:gd name="connsiteX7" fmla="*/ 83409 w 134951"/>
                <a:gd name="connsiteY7" fmla="*/ 40546 h 186768"/>
                <a:gd name="connsiteX8" fmla="*/ 98855 w 134951"/>
                <a:gd name="connsiteY8" fmla="*/ 386 h 18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951" h="186768">
                  <a:moveTo>
                    <a:pt x="0" y="186769"/>
                  </a:moveTo>
                  <a:cubicBezTo>
                    <a:pt x="11327" y="175442"/>
                    <a:pt x="44279" y="150728"/>
                    <a:pt x="53546" y="141460"/>
                  </a:cubicBezTo>
                  <a:cubicBezTo>
                    <a:pt x="58695" y="136312"/>
                    <a:pt x="90617" y="135282"/>
                    <a:pt x="99885" y="127044"/>
                  </a:cubicBezTo>
                  <a:cubicBezTo>
                    <a:pt x="105033" y="121895"/>
                    <a:pt x="88558" y="110568"/>
                    <a:pt x="90617" y="107479"/>
                  </a:cubicBezTo>
                  <a:cubicBezTo>
                    <a:pt x="95766" y="100271"/>
                    <a:pt x="122539" y="100271"/>
                    <a:pt x="125628" y="95122"/>
                  </a:cubicBezTo>
                  <a:cubicBezTo>
                    <a:pt x="128717" y="89974"/>
                    <a:pt x="129747" y="75557"/>
                    <a:pt x="134896" y="73498"/>
                  </a:cubicBezTo>
                  <a:cubicBezTo>
                    <a:pt x="135926" y="73498"/>
                    <a:pt x="122539" y="51873"/>
                    <a:pt x="106063" y="42606"/>
                  </a:cubicBezTo>
                  <a:cubicBezTo>
                    <a:pt x="94736" y="37457"/>
                    <a:pt x="92676" y="46724"/>
                    <a:pt x="83409" y="40546"/>
                  </a:cubicBezTo>
                  <a:cubicBezTo>
                    <a:pt x="59725" y="26130"/>
                    <a:pt x="102974" y="-3733"/>
                    <a:pt x="98855" y="386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CE961E2-EE62-E76E-7EE2-4B282F74070A}"/>
                </a:ext>
              </a:extLst>
            </p:cNvPr>
            <p:cNvSpPr/>
            <p:nvPr/>
          </p:nvSpPr>
          <p:spPr>
            <a:xfrm>
              <a:off x="1085078" y="5209389"/>
              <a:ext cx="84853" cy="237869"/>
            </a:xfrm>
            <a:custGeom>
              <a:avLst/>
              <a:gdLst>
                <a:gd name="connsiteX0" fmla="*/ 72082 w 84853"/>
                <a:gd name="connsiteY0" fmla="*/ 237870 h 237869"/>
                <a:gd name="connsiteX1" fmla="*/ 78260 w 84853"/>
                <a:gd name="connsiteY1" fmla="*/ 163728 h 237869"/>
                <a:gd name="connsiteX2" fmla="*/ 84439 w 84853"/>
                <a:gd name="connsiteY2" fmla="*/ 125628 h 237869"/>
                <a:gd name="connsiteX3" fmla="*/ 58695 w 84853"/>
                <a:gd name="connsiteY3" fmla="*/ 82379 h 237869"/>
                <a:gd name="connsiteX4" fmla="*/ 0 w 84853"/>
                <a:gd name="connsiteY4" fmla="*/ 0 h 23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853" h="237869">
                  <a:moveTo>
                    <a:pt x="72082" y="237870"/>
                  </a:moveTo>
                  <a:cubicBezTo>
                    <a:pt x="77230" y="221394"/>
                    <a:pt x="74141" y="181234"/>
                    <a:pt x="78260" y="163728"/>
                  </a:cubicBezTo>
                  <a:cubicBezTo>
                    <a:pt x="80320" y="157550"/>
                    <a:pt x="86498" y="154461"/>
                    <a:pt x="84439" y="125628"/>
                  </a:cubicBezTo>
                  <a:cubicBezTo>
                    <a:pt x="82379" y="96795"/>
                    <a:pt x="63844" y="87528"/>
                    <a:pt x="58695" y="82379"/>
                  </a:cubicBezTo>
                  <a:cubicBezTo>
                    <a:pt x="52517" y="77230"/>
                    <a:pt x="13387" y="35011"/>
                    <a:pt x="0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8BC02D80-B663-8657-6691-FDEFA0CE2715}"/>
                </a:ext>
              </a:extLst>
            </p:cNvPr>
            <p:cNvSpPr/>
            <p:nvPr/>
          </p:nvSpPr>
          <p:spPr>
            <a:xfrm>
              <a:off x="1080959" y="4935479"/>
              <a:ext cx="617843" cy="617843"/>
            </a:xfrm>
            <a:custGeom>
              <a:avLst/>
              <a:gdLst>
                <a:gd name="connsiteX0" fmla="*/ 617843 w 617843"/>
                <a:gd name="connsiteY0" fmla="*/ 308922 h 617843"/>
                <a:gd name="connsiteX1" fmla="*/ 308922 w 617843"/>
                <a:gd name="connsiteY1" fmla="*/ 617843 h 617843"/>
                <a:gd name="connsiteX2" fmla="*/ 0 w 617843"/>
                <a:gd name="connsiteY2" fmla="*/ 308922 h 617843"/>
                <a:gd name="connsiteX3" fmla="*/ 308922 w 617843"/>
                <a:gd name="connsiteY3" fmla="*/ 0 h 617843"/>
                <a:gd name="connsiteX4" fmla="*/ 617843 w 617843"/>
                <a:gd name="connsiteY4" fmla="*/ 308922 h 61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43" h="617843">
                  <a:moveTo>
                    <a:pt x="617843" y="308922"/>
                  </a:moveTo>
                  <a:cubicBezTo>
                    <a:pt x="617843" y="479534"/>
                    <a:pt x="479534" y="617843"/>
                    <a:pt x="308922" y="617843"/>
                  </a:cubicBezTo>
                  <a:cubicBezTo>
                    <a:pt x="138309" y="617843"/>
                    <a:pt x="0" y="479534"/>
                    <a:pt x="0" y="308922"/>
                  </a:cubicBezTo>
                  <a:cubicBezTo>
                    <a:pt x="0" y="138309"/>
                    <a:pt x="138309" y="0"/>
                    <a:pt x="308922" y="0"/>
                  </a:cubicBezTo>
                  <a:cubicBezTo>
                    <a:pt x="479534" y="0"/>
                    <a:pt x="617843" y="138309"/>
                    <a:pt x="617843" y="308922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Rectangle 220">
            <a:extLst>
              <a:ext uri="{FF2B5EF4-FFF2-40B4-BE49-F238E27FC236}">
                <a16:creationId xmlns:a16="http://schemas.microsoft.com/office/drawing/2014/main" id="{6C6E0268-6374-9B85-F011-0CF4518AC9DC}"/>
              </a:ext>
            </a:extLst>
          </p:cNvPr>
          <p:cNvSpPr>
            <a:spLocks/>
          </p:cNvSpPr>
          <p:nvPr/>
        </p:nvSpPr>
        <p:spPr>
          <a:xfrm>
            <a:off x="2449268" y="3478598"/>
            <a:ext cx="1038159" cy="68214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+1,6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Offices and logistics facilities</a:t>
            </a:r>
          </a:p>
        </p:txBody>
      </p:sp>
      <p:grpSp>
        <p:nvGrpSpPr>
          <p:cNvPr id="53" name="Graphic 226">
            <a:extLst>
              <a:ext uri="{FF2B5EF4-FFF2-40B4-BE49-F238E27FC236}">
                <a16:creationId xmlns:a16="http://schemas.microsoft.com/office/drawing/2014/main" id="{32198BA6-9FDA-A922-EF31-64A74BB1CA84}"/>
              </a:ext>
            </a:extLst>
          </p:cNvPr>
          <p:cNvGrpSpPr>
            <a:grpSpLocks/>
          </p:cNvGrpSpPr>
          <p:nvPr/>
        </p:nvGrpSpPr>
        <p:grpSpPr>
          <a:xfrm>
            <a:off x="1461895" y="3560440"/>
            <a:ext cx="676251" cy="515079"/>
            <a:chOff x="1019670" y="3875965"/>
            <a:chExt cx="740436" cy="563966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9395B5F-D23B-91A3-A781-A1166E2DD4CF}"/>
                </a:ext>
              </a:extLst>
            </p:cNvPr>
            <p:cNvSpPr/>
            <p:nvPr/>
          </p:nvSpPr>
          <p:spPr>
            <a:xfrm>
              <a:off x="1388654" y="4278269"/>
              <a:ext cx="12340" cy="157959"/>
            </a:xfrm>
            <a:custGeom>
              <a:avLst/>
              <a:gdLst>
                <a:gd name="connsiteX0" fmla="*/ 0 w 12340"/>
                <a:gd name="connsiteY0" fmla="*/ 0 h 157959"/>
                <a:gd name="connsiteX1" fmla="*/ 0 w 12340"/>
                <a:gd name="connsiteY1" fmla="*/ 157960 h 15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40" h="157959">
                  <a:moveTo>
                    <a:pt x="0" y="0"/>
                  </a:moveTo>
                  <a:lnTo>
                    <a:pt x="0" y="157960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79BC4A7-5CC2-4BEF-541E-9676E47E0BF4}"/>
                </a:ext>
              </a:extLst>
            </p:cNvPr>
            <p:cNvSpPr/>
            <p:nvPr/>
          </p:nvSpPr>
          <p:spPr>
            <a:xfrm>
              <a:off x="1257844" y="4278269"/>
              <a:ext cx="262854" cy="161661"/>
            </a:xfrm>
            <a:custGeom>
              <a:avLst/>
              <a:gdLst>
                <a:gd name="connsiteX0" fmla="*/ 262855 w 262854"/>
                <a:gd name="connsiteY0" fmla="*/ 161662 h 161661"/>
                <a:gd name="connsiteX1" fmla="*/ 262855 w 262854"/>
                <a:gd name="connsiteY1" fmla="*/ 0 h 161661"/>
                <a:gd name="connsiteX2" fmla="*/ 0 w 262854"/>
                <a:gd name="connsiteY2" fmla="*/ 0 h 161661"/>
                <a:gd name="connsiteX3" fmla="*/ 0 w 262854"/>
                <a:gd name="connsiteY3" fmla="*/ 161662 h 161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2854" h="161661">
                  <a:moveTo>
                    <a:pt x="262855" y="161662"/>
                  </a:moveTo>
                  <a:lnTo>
                    <a:pt x="262855" y="0"/>
                  </a:lnTo>
                  <a:lnTo>
                    <a:pt x="0" y="0"/>
                  </a:lnTo>
                  <a:lnTo>
                    <a:pt x="0" y="161662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AE6E04D-6593-2E2C-1311-ABD84DB6F8B6}"/>
                </a:ext>
              </a:extLst>
            </p:cNvPr>
            <p:cNvSpPr/>
            <p:nvPr/>
          </p:nvSpPr>
          <p:spPr>
            <a:xfrm>
              <a:off x="1019670" y="3946307"/>
              <a:ext cx="740435" cy="493624"/>
            </a:xfrm>
            <a:custGeom>
              <a:avLst/>
              <a:gdLst>
                <a:gd name="connsiteX0" fmla="*/ 0 w 740435"/>
                <a:gd name="connsiteY0" fmla="*/ 0 h 493624"/>
                <a:gd name="connsiteX1" fmla="*/ 740436 w 740435"/>
                <a:gd name="connsiteY1" fmla="*/ 0 h 493624"/>
                <a:gd name="connsiteX2" fmla="*/ 740436 w 740435"/>
                <a:gd name="connsiteY2" fmla="*/ 493624 h 493624"/>
                <a:gd name="connsiteX3" fmla="*/ 0 w 740435"/>
                <a:gd name="connsiteY3" fmla="*/ 493624 h 493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0435" h="493624">
                  <a:moveTo>
                    <a:pt x="0" y="0"/>
                  </a:moveTo>
                  <a:lnTo>
                    <a:pt x="740436" y="0"/>
                  </a:lnTo>
                  <a:lnTo>
                    <a:pt x="740436" y="493624"/>
                  </a:lnTo>
                  <a:lnTo>
                    <a:pt x="0" y="493624"/>
                  </a:lnTo>
                  <a:close/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E08BE5C-79EF-99EE-7F2C-231C70DC3948}"/>
                </a:ext>
              </a:extLst>
            </p:cNvPr>
            <p:cNvSpPr/>
            <p:nvPr/>
          </p:nvSpPr>
          <p:spPr>
            <a:xfrm>
              <a:off x="1029543" y="3946307"/>
              <a:ext cx="730563" cy="12340"/>
            </a:xfrm>
            <a:custGeom>
              <a:avLst/>
              <a:gdLst>
                <a:gd name="connsiteX0" fmla="*/ 0 w 730563"/>
                <a:gd name="connsiteY0" fmla="*/ 0 h 12340"/>
                <a:gd name="connsiteX1" fmla="*/ 730563 w 730563"/>
                <a:gd name="connsiteY1" fmla="*/ 0 h 12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0563" h="12340">
                  <a:moveTo>
                    <a:pt x="0" y="0"/>
                  </a:moveTo>
                  <a:lnTo>
                    <a:pt x="730563" y="0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092EA26-5B1F-F7C5-9F7A-44E6E7506839}"/>
                </a:ext>
              </a:extLst>
            </p:cNvPr>
            <p:cNvSpPr/>
            <p:nvPr/>
          </p:nvSpPr>
          <p:spPr>
            <a:xfrm>
              <a:off x="1029543" y="4046265"/>
              <a:ext cx="730563" cy="12340"/>
            </a:xfrm>
            <a:custGeom>
              <a:avLst/>
              <a:gdLst>
                <a:gd name="connsiteX0" fmla="*/ 0 w 730563"/>
                <a:gd name="connsiteY0" fmla="*/ 0 h 12340"/>
                <a:gd name="connsiteX1" fmla="*/ 730563 w 730563"/>
                <a:gd name="connsiteY1" fmla="*/ 0 h 12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0563" h="12340">
                  <a:moveTo>
                    <a:pt x="0" y="0"/>
                  </a:moveTo>
                  <a:lnTo>
                    <a:pt x="730563" y="0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E010DAB-E574-1B95-056C-3695E41AFBCB}"/>
                </a:ext>
              </a:extLst>
            </p:cNvPr>
            <p:cNvSpPr/>
            <p:nvPr/>
          </p:nvSpPr>
          <p:spPr>
            <a:xfrm>
              <a:off x="1029543" y="4179544"/>
              <a:ext cx="730563" cy="12340"/>
            </a:xfrm>
            <a:custGeom>
              <a:avLst/>
              <a:gdLst>
                <a:gd name="connsiteX0" fmla="*/ 0 w 730563"/>
                <a:gd name="connsiteY0" fmla="*/ 0 h 12340"/>
                <a:gd name="connsiteX1" fmla="*/ 730563 w 730563"/>
                <a:gd name="connsiteY1" fmla="*/ 0 h 12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0563" h="12340">
                  <a:moveTo>
                    <a:pt x="0" y="0"/>
                  </a:moveTo>
                  <a:lnTo>
                    <a:pt x="730563" y="0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6DA549B-9CA5-78BC-A3E3-59EFB0B58A33}"/>
                </a:ext>
              </a:extLst>
            </p:cNvPr>
            <p:cNvSpPr/>
            <p:nvPr/>
          </p:nvSpPr>
          <p:spPr>
            <a:xfrm>
              <a:off x="1091246" y="3875965"/>
              <a:ext cx="594816" cy="65405"/>
            </a:xfrm>
            <a:custGeom>
              <a:avLst/>
              <a:gdLst>
                <a:gd name="connsiteX0" fmla="*/ 594817 w 594816"/>
                <a:gd name="connsiteY0" fmla="*/ 65405 h 65405"/>
                <a:gd name="connsiteX1" fmla="*/ 594817 w 594816"/>
                <a:gd name="connsiteY1" fmla="*/ 0 h 65405"/>
                <a:gd name="connsiteX2" fmla="*/ 0 w 594816"/>
                <a:gd name="connsiteY2" fmla="*/ 0 h 65405"/>
                <a:gd name="connsiteX3" fmla="*/ 0 w 594816"/>
                <a:gd name="connsiteY3" fmla="*/ 65405 h 65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4816" h="65405">
                  <a:moveTo>
                    <a:pt x="594817" y="65405"/>
                  </a:moveTo>
                  <a:lnTo>
                    <a:pt x="594817" y="0"/>
                  </a:lnTo>
                  <a:lnTo>
                    <a:pt x="0" y="0"/>
                  </a:lnTo>
                  <a:lnTo>
                    <a:pt x="0" y="65405"/>
                  </a:lnTo>
                </a:path>
              </a:pathLst>
            </a:custGeom>
            <a:noFill/>
            <a:ln w="25400" cap="flat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23F1EF7-962D-F4CD-4EB5-FAF49306355D}"/>
                </a:ext>
              </a:extLst>
            </p:cNvPr>
            <p:cNvSpPr/>
            <p:nvPr/>
          </p:nvSpPr>
          <p:spPr>
            <a:xfrm>
              <a:off x="1303504" y="4084521"/>
              <a:ext cx="174002" cy="54298"/>
            </a:xfrm>
            <a:custGeom>
              <a:avLst/>
              <a:gdLst>
                <a:gd name="connsiteX0" fmla="*/ 151789 w 174002"/>
                <a:gd name="connsiteY0" fmla="*/ 50596 h 54298"/>
                <a:gd name="connsiteX1" fmla="*/ 146853 w 174002"/>
                <a:gd name="connsiteY1" fmla="*/ 54299 h 54298"/>
                <a:gd name="connsiteX2" fmla="*/ 134513 w 174002"/>
                <a:gd name="connsiteY2" fmla="*/ 54299 h 54298"/>
                <a:gd name="connsiteX3" fmla="*/ 129576 w 174002"/>
                <a:gd name="connsiteY3" fmla="*/ 51831 h 54298"/>
                <a:gd name="connsiteX4" fmla="*/ 113534 w 174002"/>
                <a:gd name="connsiteY4" fmla="*/ 18511 h 54298"/>
                <a:gd name="connsiteX5" fmla="*/ 106129 w 174002"/>
                <a:gd name="connsiteY5" fmla="*/ 14809 h 54298"/>
                <a:gd name="connsiteX6" fmla="*/ 76512 w 174002"/>
                <a:gd name="connsiteY6" fmla="*/ 14809 h 54298"/>
                <a:gd name="connsiteX7" fmla="*/ 72810 w 174002"/>
                <a:gd name="connsiteY7" fmla="*/ 18511 h 54298"/>
                <a:gd name="connsiteX8" fmla="*/ 77746 w 174002"/>
                <a:gd name="connsiteY8" fmla="*/ 22213 h 54298"/>
                <a:gd name="connsiteX9" fmla="*/ 97491 w 174002"/>
                <a:gd name="connsiteY9" fmla="*/ 22213 h 54298"/>
                <a:gd name="connsiteX10" fmla="*/ 113534 w 174002"/>
                <a:gd name="connsiteY10" fmla="*/ 38256 h 54298"/>
                <a:gd name="connsiteX11" fmla="*/ 97491 w 174002"/>
                <a:gd name="connsiteY11" fmla="*/ 54299 h 54298"/>
                <a:gd name="connsiteX12" fmla="*/ 71575 w 174002"/>
                <a:gd name="connsiteY12" fmla="*/ 54299 h 54298"/>
                <a:gd name="connsiteX13" fmla="*/ 66639 w 174002"/>
                <a:gd name="connsiteY13" fmla="*/ 49362 h 54298"/>
                <a:gd name="connsiteX14" fmla="*/ 66639 w 174002"/>
                <a:gd name="connsiteY14" fmla="*/ 43192 h 54298"/>
                <a:gd name="connsiteX15" fmla="*/ 67873 w 174002"/>
                <a:gd name="connsiteY15" fmla="*/ 41958 h 54298"/>
                <a:gd name="connsiteX16" fmla="*/ 91320 w 174002"/>
                <a:gd name="connsiteY16" fmla="*/ 41958 h 54298"/>
                <a:gd name="connsiteX17" fmla="*/ 96257 w 174002"/>
                <a:gd name="connsiteY17" fmla="*/ 38256 h 54298"/>
                <a:gd name="connsiteX18" fmla="*/ 92554 w 174002"/>
                <a:gd name="connsiteY18" fmla="*/ 34554 h 54298"/>
                <a:gd name="connsiteX19" fmla="*/ 70341 w 174002"/>
                <a:gd name="connsiteY19" fmla="*/ 34554 h 54298"/>
                <a:gd name="connsiteX20" fmla="*/ 60469 w 174002"/>
                <a:gd name="connsiteY20" fmla="*/ 32086 h 54298"/>
                <a:gd name="connsiteX21" fmla="*/ 34554 w 174002"/>
                <a:gd name="connsiteY21" fmla="*/ 54299 h 54298"/>
                <a:gd name="connsiteX22" fmla="*/ 2468 w 174002"/>
                <a:gd name="connsiteY22" fmla="*/ 54299 h 54298"/>
                <a:gd name="connsiteX23" fmla="*/ 1234 w 174002"/>
                <a:gd name="connsiteY23" fmla="*/ 53065 h 54298"/>
                <a:gd name="connsiteX24" fmla="*/ 1234 w 174002"/>
                <a:gd name="connsiteY24" fmla="*/ 24681 h 54298"/>
                <a:gd name="connsiteX25" fmla="*/ 2468 w 174002"/>
                <a:gd name="connsiteY25" fmla="*/ 23447 h 54298"/>
                <a:gd name="connsiteX26" fmla="*/ 12341 w 174002"/>
                <a:gd name="connsiteY26" fmla="*/ 23447 h 54298"/>
                <a:gd name="connsiteX27" fmla="*/ 17277 w 174002"/>
                <a:gd name="connsiteY27" fmla="*/ 27149 h 54298"/>
                <a:gd name="connsiteX28" fmla="*/ 17277 w 174002"/>
                <a:gd name="connsiteY28" fmla="*/ 41958 h 54298"/>
                <a:gd name="connsiteX29" fmla="*/ 17277 w 174002"/>
                <a:gd name="connsiteY29" fmla="*/ 41958 h 54298"/>
                <a:gd name="connsiteX30" fmla="*/ 18511 w 174002"/>
                <a:gd name="connsiteY30" fmla="*/ 43192 h 54298"/>
                <a:gd name="connsiteX31" fmla="*/ 28383 w 174002"/>
                <a:gd name="connsiteY31" fmla="*/ 43192 h 54298"/>
                <a:gd name="connsiteX32" fmla="*/ 43192 w 174002"/>
                <a:gd name="connsiteY32" fmla="*/ 28383 h 54298"/>
                <a:gd name="connsiteX33" fmla="*/ 28383 w 174002"/>
                <a:gd name="connsiteY33" fmla="*/ 13575 h 54298"/>
                <a:gd name="connsiteX34" fmla="*/ 1234 w 174002"/>
                <a:gd name="connsiteY34" fmla="*/ 13575 h 54298"/>
                <a:gd name="connsiteX35" fmla="*/ 0 w 174002"/>
                <a:gd name="connsiteY35" fmla="*/ 12341 h 54298"/>
                <a:gd name="connsiteX36" fmla="*/ 0 w 174002"/>
                <a:gd name="connsiteY36" fmla="*/ 6170 h 54298"/>
                <a:gd name="connsiteX37" fmla="*/ 4936 w 174002"/>
                <a:gd name="connsiteY37" fmla="*/ 1234 h 54298"/>
                <a:gd name="connsiteX38" fmla="*/ 34554 w 174002"/>
                <a:gd name="connsiteY38" fmla="*/ 1234 h 54298"/>
                <a:gd name="connsiteX39" fmla="*/ 55533 w 174002"/>
                <a:gd name="connsiteY39" fmla="*/ 9872 h 54298"/>
                <a:gd name="connsiteX40" fmla="*/ 70341 w 174002"/>
                <a:gd name="connsiteY40" fmla="*/ 1234 h 54298"/>
                <a:gd name="connsiteX41" fmla="*/ 113534 w 174002"/>
                <a:gd name="connsiteY41" fmla="*/ 1234 h 54298"/>
                <a:gd name="connsiteX42" fmla="*/ 128342 w 174002"/>
                <a:gd name="connsiteY42" fmla="*/ 8638 h 54298"/>
                <a:gd name="connsiteX43" fmla="*/ 141917 w 174002"/>
                <a:gd name="connsiteY43" fmla="*/ 37022 h 54298"/>
                <a:gd name="connsiteX44" fmla="*/ 143151 w 174002"/>
                <a:gd name="connsiteY44" fmla="*/ 37022 h 54298"/>
                <a:gd name="connsiteX45" fmla="*/ 144385 w 174002"/>
                <a:gd name="connsiteY45" fmla="*/ 37022 h 54298"/>
                <a:gd name="connsiteX46" fmla="*/ 161662 w 174002"/>
                <a:gd name="connsiteY46" fmla="*/ 1234 h 54298"/>
                <a:gd name="connsiteX47" fmla="*/ 162896 w 174002"/>
                <a:gd name="connsiteY47" fmla="*/ 0 h 54298"/>
                <a:gd name="connsiteX48" fmla="*/ 172768 w 174002"/>
                <a:gd name="connsiteY48" fmla="*/ 0 h 54298"/>
                <a:gd name="connsiteX49" fmla="*/ 174002 w 174002"/>
                <a:gd name="connsiteY49" fmla="*/ 1234 h 54298"/>
                <a:gd name="connsiteX50" fmla="*/ 174002 w 174002"/>
                <a:gd name="connsiteY50" fmla="*/ 2468 h 54298"/>
                <a:gd name="connsiteX51" fmla="*/ 151789 w 174002"/>
                <a:gd name="connsiteY51" fmla="*/ 50596 h 54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4002" h="54298">
                  <a:moveTo>
                    <a:pt x="151789" y="50596"/>
                  </a:moveTo>
                  <a:cubicBezTo>
                    <a:pt x="151789" y="51831"/>
                    <a:pt x="149321" y="54299"/>
                    <a:pt x="146853" y="54299"/>
                  </a:cubicBezTo>
                  <a:lnTo>
                    <a:pt x="134513" y="54299"/>
                  </a:lnTo>
                  <a:cubicBezTo>
                    <a:pt x="132044" y="54299"/>
                    <a:pt x="129576" y="51831"/>
                    <a:pt x="129576" y="51831"/>
                  </a:cubicBezTo>
                  <a:lnTo>
                    <a:pt x="113534" y="18511"/>
                  </a:lnTo>
                  <a:cubicBezTo>
                    <a:pt x="112299" y="14809"/>
                    <a:pt x="108597" y="14809"/>
                    <a:pt x="106129" y="14809"/>
                  </a:cubicBezTo>
                  <a:lnTo>
                    <a:pt x="76512" y="14809"/>
                  </a:lnTo>
                  <a:cubicBezTo>
                    <a:pt x="74044" y="14809"/>
                    <a:pt x="72810" y="16043"/>
                    <a:pt x="72810" y="18511"/>
                  </a:cubicBezTo>
                  <a:cubicBezTo>
                    <a:pt x="72810" y="20979"/>
                    <a:pt x="74044" y="22213"/>
                    <a:pt x="77746" y="22213"/>
                  </a:cubicBezTo>
                  <a:lnTo>
                    <a:pt x="97491" y="22213"/>
                  </a:lnTo>
                  <a:cubicBezTo>
                    <a:pt x="106129" y="22213"/>
                    <a:pt x="113534" y="27149"/>
                    <a:pt x="113534" y="38256"/>
                  </a:cubicBezTo>
                  <a:cubicBezTo>
                    <a:pt x="113534" y="49362"/>
                    <a:pt x="106129" y="54299"/>
                    <a:pt x="97491" y="54299"/>
                  </a:cubicBezTo>
                  <a:lnTo>
                    <a:pt x="71575" y="54299"/>
                  </a:lnTo>
                  <a:cubicBezTo>
                    <a:pt x="69107" y="54299"/>
                    <a:pt x="66639" y="53065"/>
                    <a:pt x="66639" y="49362"/>
                  </a:cubicBezTo>
                  <a:lnTo>
                    <a:pt x="66639" y="43192"/>
                  </a:lnTo>
                  <a:cubicBezTo>
                    <a:pt x="66639" y="41958"/>
                    <a:pt x="67873" y="41958"/>
                    <a:pt x="67873" y="41958"/>
                  </a:cubicBezTo>
                  <a:lnTo>
                    <a:pt x="91320" y="41958"/>
                  </a:lnTo>
                  <a:cubicBezTo>
                    <a:pt x="93789" y="41958"/>
                    <a:pt x="96257" y="40724"/>
                    <a:pt x="96257" y="38256"/>
                  </a:cubicBezTo>
                  <a:cubicBezTo>
                    <a:pt x="96257" y="35788"/>
                    <a:pt x="93789" y="34554"/>
                    <a:pt x="92554" y="34554"/>
                  </a:cubicBezTo>
                  <a:lnTo>
                    <a:pt x="70341" y="34554"/>
                  </a:lnTo>
                  <a:cubicBezTo>
                    <a:pt x="66639" y="34554"/>
                    <a:pt x="62937" y="33320"/>
                    <a:pt x="60469" y="32086"/>
                  </a:cubicBezTo>
                  <a:cubicBezTo>
                    <a:pt x="59235" y="45660"/>
                    <a:pt x="49362" y="54299"/>
                    <a:pt x="34554" y="54299"/>
                  </a:cubicBezTo>
                  <a:lnTo>
                    <a:pt x="2468" y="54299"/>
                  </a:lnTo>
                  <a:cubicBezTo>
                    <a:pt x="1234" y="54299"/>
                    <a:pt x="1234" y="54299"/>
                    <a:pt x="1234" y="53065"/>
                  </a:cubicBezTo>
                  <a:lnTo>
                    <a:pt x="1234" y="24681"/>
                  </a:lnTo>
                  <a:cubicBezTo>
                    <a:pt x="1234" y="23447"/>
                    <a:pt x="2468" y="23447"/>
                    <a:pt x="2468" y="23447"/>
                  </a:cubicBezTo>
                  <a:lnTo>
                    <a:pt x="12341" y="23447"/>
                  </a:lnTo>
                  <a:cubicBezTo>
                    <a:pt x="14809" y="23447"/>
                    <a:pt x="17277" y="25915"/>
                    <a:pt x="17277" y="27149"/>
                  </a:cubicBezTo>
                  <a:lnTo>
                    <a:pt x="17277" y="41958"/>
                  </a:lnTo>
                  <a:lnTo>
                    <a:pt x="17277" y="41958"/>
                  </a:lnTo>
                  <a:cubicBezTo>
                    <a:pt x="17277" y="43192"/>
                    <a:pt x="18511" y="43192"/>
                    <a:pt x="18511" y="43192"/>
                  </a:cubicBezTo>
                  <a:cubicBezTo>
                    <a:pt x="20979" y="43192"/>
                    <a:pt x="28383" y="43192"/>
                    <a:pt x="28383" y="43192"/>
                  </a:cubicBezTo>
                  <a:cubicBezTo>
                    <a:pt x="35788" y="43192"/>
                    <a:pt x="43192" y="38256"/>
                    <a:pt x="43192" y="28383"/>
                  </a:cubicBezTo>
                  <a:cubicBezTo>
                    <a:pt x="43192" y="18511"/>
                    <a:pt x="37022" y="13575"/>
                    <a:pt x="28383" y="13575"/>
                  </a:cubicBezTo>
                  <a:lnTo>
                    <a:pt x="1234" y="13575"/>
                  </a:lnTo>
                  <a:cubicBezTo>
                    <a:pt x="0" y="13575"/>
                    <a:pt x="0" y="13575"/>
                    <a:pt x="0" y="12341"/>
                  </a:cubicBezTo>
                  <a:lnTo>
                    <a:pt x="0" y="6170"/>
                  </a:lnTo>
                  <a:cubicBezTo>
                    <a:pt x="0" y="2468"/>
                    <a:pt x="2468" y="1234"/>
                    <a:pt x="4936" y="1234"/>
                  </a:cubicBezTo>
                  <a:lnTo>
                    <a:pt x="34554" y="1234"/>
                  </a:lnTo>
                  <a:cubicBezTo>
                    <a:pt x="43192" y="1234"/>
                    <a:pt x="50596" y="4936"/>
                    <a:pt x="55533" y="9872"/>
                  </a:cubicBezTo>
                  <a:cubicBezTo>
                    <a:pt x="58001" y="3702"/>
                    <a:pt x="62937" y="1234"/>
                    <a:pt x="70341" y="1234"/>
                  </a:cubicBezTo>
                  <a:lnTo>
                    <a:pt x="113534" y="1234"/>
                  </a:lnTo>
                  <a:cubicBezTo>
                    <a:pt x="118470" y="1234"/>
                    <a:pt x="124640" y="2468"/>
                    <a:pt x="128342" y="8638"/>
                  </a:cubicBezTo>
                  <a:lnTo>
                    <a:pt x="141917" y="37022"/>
                  </a:lnTo>
                  <a:cubicBezTo>
                    <a:pt x="141917" y="37022"/>
                    <a:pt x="141917" y="37022"/>
                    <a:pt x="143151" y="37022"/>
                  </a:cubicBezTo>
                  <a:cubicBezTo>
                    <a:pt x="143151" y="37022"/>
                    <a:pt x="144385" y="37022"/>
                    <a:pt x="144385" y="37022"/>
                  </a:cubicBezTo>
                  <a:cubicBezTo>
                    <a:pt x="144385" y="37022"/>
                    <a:pt x="161662" y="1234"/>
                    <a:pt x="161662" y="1234"/>
                  </a:cubicBezTo>
                  <a:cubicBezTo>
                    <a:pt x="161662" y="1234"/>
                    <a:pt x="161662" y="0"/>
                    <a:pt x="162896" y="0"/>
                  </a:cubicBezTo>
                  <a:lnTo>
                    <a:pt x="172768" y="0"/>
                  </a:lnTo>
                  <a:cubicBezTo>
                    <a:pt x="174002" y="0"/>
                    <a:pt x="174002" y="0"/>
                    <a:pt x="174002" y="1234"/>
                  </a:cubicBezTo>
                  <a:cubicBezTo>
                    <a:pt x="174002" y="1234"/>
                    <a:pt x="174002" y="1234"/>
                    <a:pt x="174002" y="2468"/>
                  </a:cubicBezTo>
                  <a:lnTo>
                    <a:pt x="151789" y="5059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D6960992-D421-F17C-0561-6B87A47CDD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49955" y="3704590"/>
            <a:ext cx="213048" cy="6467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BF9CAF3-2682-375F-DA28-920740A1151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49" r="13774" b="16204"/>
          <a:stretch/>
        </p:blipFill>
        <p:spPr>
          <a:xfrm>
            <a:off x="7304480" y="4190933"/>
            <a:ext cx="542923" cy="528316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61B28E6E-DC71-22C5-79AC-0F1D450785FB}"/>
              </a:ext>
            </a:extLst>
          </p:cNvPr>
          <p:cNvGrpSpPr/>
          <p:nvPr/>
        </p:nvGrpSpPr>
        <p:grpSpPr>
          <a:xfrm>
            <a:off x="8103360" y="4397328"/>
            <a:ext cx="2686194" cy="1361596"/>
            <a:chOff x="8365506" y="4673366"/>
            <a:chExt cx="2686193" cy="1361596"/>
          </a:xfrm>
        </p:grpSpPr>
        <p:pic>
          <p:nvPicPr>
            <p:cNvPr id="65" name="Picture 64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C10760F4-F59C-92A1-54EB-F2850C1B27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65506" y="4673366"/>
              <a:ext cx="2686193" cy="1361596"/>
            </a:xfrm>
            <a:prstGeom prst="rect">
              <a:avLst/>
            </a:prstGeom>
          </p:spPr>
        </p:pic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4EEE64D-693A-B3C8-973C-6359F36E0805}"/>
                </a:ext>
              </a:extLst>
            </p:cNvPr>
            <p:cNvSpPr/>
            <p:nvPr/>
          </p:nvSpPr>
          <p:spPr>
            <a:xfrm>
              <a:off x="9272004" y="5139566"/>
              <a:ext cx="422065" cy="439200"/>
            </a:xfrm>
            <a:prstGeom prst="rect">
              <a:avLst/>
            </a:prstGeom>
            <a:solidFill>
              <a:schemeClr val="accent2">
                <a:lumMod val="50000"/>
                <a:alpha val="92000"/>
              </a:schemeClr>
            </a:solidFill>
            <a:ln>
              <a:noFill/>
            </a:ln>
            <a:effectLst>
              <a:outerShdw blurRad="50800" dist="50800" dir="5400000" sx="1000" sy="1000" algn="ctr" rotWithShape="0">
                <a:srgbClr val="00000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A6FCDED-70B2-34F3-5D6B-B098EFAF7E6C}"/>
                </a:ext>
              </a:extLst>
            </p:cNvPr>
            <p:cNvSpPr/>
            <p:nvPr/>
          </p:nvSpPr>
          <p:spPr>
            <a:xfrm>
              <a:off x="9726823" y="4673366"/>
              <a:ext cx="422065" cy="432000"/>
            </a:xfrm>
            <a:prstGeom prst="rect">
              <a:avLst/>
            </a:prstGeom>
            <a:solidFill>
              <a:schemeClr val="accent2">
                <a:lumMod val="50000"/>
                <a:alpha val="92000"/>
              </a:schemeClr>
            </a:solidFill>
            <a:ln>
              <a:noFill/>
            </a:ln>
            <a:effectLst>
              <a:outerShdw blurRad="228600" dist="50800" dir="5400000" sx="1000" sy="1000" algn="ctr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8" name="Rectangle 220">
            <a:extLst>
              <a:ext uri="{FF2B5EF4-FFF2-40B4-BE49-F238E27FC236}">
                <a16:creationId xmlns:a16="http://schemas.microsoft.com/office/drawing/2014/main" id="{90344E77-A9C1-6D14-957B-92E94838B56B}"/>
              </a:ext>
            </a:extLst>
          </p:cNvPr>
          <p:cNvSpPr>
            <a:spLocks/>
          </p:cNvSpPr>
          <p:nvPr/>
        </p:nvSpPr>
        <p:spPr>
          <a:xfrm>
            <a:off x="8072212" y="4024649"/>
            <a:ext cx="2867835" cy="684796"/>
          </a:xfrm>
          <a:prstGeom prst="rect">
            <a:avLst/>
          </a:prstGeom>
        </p:spPr>
        <p:txBody>
          <a:bodyPr wrap="square" lIns="36000" tIns="36000" rIns="3600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UN Global Compact &amp; SDG</a:t>
            </a:r>
          </a:p>
        </p:txBody>
      </p:sp>
      <p:sp>
        <p:nvSpPr>
          <p:cNvPr id="69" name="Rectangle 220">
            <a:extLst>
              <a:ext uri="{FF2B5EF4-FFF2-40B4-BE49-F238E27FC236}">
                <a16:creationId xmlns:a16="http://schemas.microsoft.com/office/drawing/2014/main" id="{35491473-7DAA-A51E-3BF2-77C3FC86CD93}"/>
              </a:ext>
            </a:extLst>
          </p:cNvPr>
          <p:cNvSpPr/>
          <p:nvPr/>
        </p:nvSpPr>
        <p:spPr>
          <a:xfrm>
            <a:off x="8072214" y="2580433"/>
            <a:ext cx="2301510" cy="723319"/>
          </a:xfrm>
          <a:prstGeom prst="rect">
            <a:avLst/>
          </a:prstGeom>
        </p:spPr>
        <p:txBody>
          <a:bodyPr wrap="square" lIns="36000" tIns="36000" rIns="3600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/>
              </a:rPr>
              <a:t>A3</a:t>
            </a: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charset="0"/>
              </a:rPr>
              <a:t> </a:t>
            </a: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charset="0"/>
              </a:rPr>
              <a:t>(Stable) by Moody’s</a:t>
            </a:r>
            <a:endParaRPr kumimoji="0" lang="en-GB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/>
              </a:rPr>
              <a:t>A-</a:t>
            </a:r>
            <a:r>
              <a:rPr kumimoji="0" lang="en-GB" alt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alt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Stable) by Standard &amp; Poo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70" name="Graphic 99">
            <a:extLst>
              <a:ext uri="{FF2B5EF4-FFF2-40B4-BE49-F238E27FC236}">
                <a16:creationId xmlns:a16="http://schemas.microsoft.com/office/drawing/2014/main" id="{0F1F999B-34D3-CE51-3220-70C2D788E3BC}"/>
              </a:ext>
            </a:extLst>
          </p:cNvPr>
          <p:cNvGrpSpPr/>
          <p:nvPr/>
        </p:nvGrpSpPr>
        <p:grpSpPr>
          <a:xfrm>
            <a:off x="7357880" y="2651716"/>
            <a:ext cx="461938" cy="461940"/>
            <a:chOff x="7580547" y="3498371"/>
            <a:chExt cx="438150" cy="438150"/>
          </a:xfrm>
        </p:grpSpPr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FCBBB03-204C-1F6D-357F-02407392162D}"/>
                </a:ext>
              </a:extLst>
            </p:cNvPr>
            <p:cNvSpPr/>
            <p:nvPr/>
          </p:nvSpPr>
          <p:spPr>
            <a:xfrm>
              <a:off x="7628172" y="3622196"/>
              <a:ext cx="66675" cy="209550"/>
            </a:xfrm>
            <a:custGeom>
              <a:avLst/>
              <a:gdLst>
                <a:gd name="connsiteX0" fmla="*/ 0 w 66675"/>
                <a:gd name="connsiteY0" fmla="*/ 209550 h 209550"/>
                <a:gd name="connsiteX1" fmla="*/ 0 w 66675"/>
                <a:gd name="connsiteY1" fmla="*/ 0 h 209550"/>
                <a:gd name="connsiteX2" fmla="*/ 66675 w 66675"/>
                <a:gd name="connsiteY2" fmla="*/ 0 h 209550"/>
                <a:gd name="connsiteX3" fmla="*/ 66675 w 66675"/>
                <a:gd name="connsiteY3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209550">
                  <a:moveTo>
                    <a:pt x="0" y="209550"/>
                  </a:moveTo>
                  <a:lnTo>
                    <a:pt x="0" y="0"/>
                  </a:lnTo>
                  <a:lnTo>
                    <a:pt x="66675" y="0"/>
                  </a:lnTo>
                  <a:lnTo>
                    <a:pt x="66675" y="20955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00A95A1-A825-8281-81A4-D03DFFE06FA2}"/>
                </a:ext>
              </a:extLst>
            </p:cNvPr>
            <p:cNvSpPr/>
            <p:nvPr/>
          </p:nvSpPr>
          <p:spPr>
            <a:xfrm>
              <a:off x="7732947" y="3565046"/>
              <a:ext cx="66675" cy="266700"/>
            </a:xfrm>
            <a:custGeom>
              <a:avLst/>
              <a:gdLst>
                <a:gd name="connsiteX0" fmla="*/ 0 w 66675"/>
                <a:gd name="connsiteY0" fmla="*/ 266700 h 266700"/>
                <a:gd name="connsiteX1" fmla="*/ 0 w 66675"/>
                <a:gd name="connsiteY1" fmla="*/ 0 h 266700"/>
                <a:gd name="connsiteX2" fmla="*/ 66675 w 66675"/>
                <a:gd name="connsiteY2" fmla="*/ 0 h 266700"/>
                <a:gd name="connsiteX3" fmla="*/ 66675 w 66675"/>
                <a:gd name="connsiteY3" fmla="*/ 1143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266700">
                  <a:moveTo>
                    <a:pt x="0" y="266700"/>
                  </a:moveTo>
                  <a:lnTo>
                    <a:pt x="0" y="0"/>
                  </a:lnTo>
                  <a:lnTo>
                    <a:pt x="66675" y="0"/>
                  </a:lnTo>
                  <a:lnTo>
                    <a:pt x="66675" y="11430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B5BA238-FA60-A79E-3E56-F4B1A3C46DF2}"/>
                </a:ext>
              </a:extLst>
            </p:cNvPr>
            <p:cNvSpPr/>
            <p:nvPr/>
          </p:nvSpPr>
          <p:spPr>
            <a:xfrm>
              <a:off x="7837722" y="3498371"/>
              <a:ext cx="66675" cy="171450"/>
            </a:xfrm>
            <a:custGeom>
              <a:avLst/>
              <a:gdLst>
                <a:gd name="connsiteX0" fmla="*/ 0 w 66675"/>
                <a:gd name="connsiteY0" fmla="*/ 171450 h 171450"/>
                <a:gd name="connsiteX1" fmla="*/ 0 w 66675"/>
                <a:gd name="connsiteY1" fmla="*/ 0 h 171450"/>
                <a:gd name="connsiteX2" fmla="*/ 66675 w 66675"/>
                <a:gd name="connsiteY2" fmla="*/ 0 h 171450"/>
                <a:gd name="connsiteX3" fmla="*/ 66675 w 66675"/>
                <a:gd name="connsiteY3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71450">
                  <a:moveTo>
                    <a:pt x="0" y="171450"/>
                  </a:moveTo>
                  <a:lnTo>
                    <a:pt x="0" y="0"/>
                  </a:lnTo>
                  <a:lnTo>
                    <a:pt x="66675" y="0"/>
                  </a:lnTo>
                  <a:lnTo>
                    <a:pt x="66675" y="17145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C1AEEDC-6700-8720-1960-1C65B2AA0C4D}"/>
                </a:ext>
              </a:extLst>
            </p:cNvPr>
            <p:cNvSpPr/>
            <p:nvPr/>
          </p:nvSpPr>
          <p:spPr>
            <a:xfrm>
              <a:off x="7580547" y="3850796"/>
              <a:ext cx="171450" cy="9525"/>
            </a:xfrm>
            <a:custGeom>
              <a:avLst/>
              <a:gdLst>
                <a:gd name="connsiteX0" fmla="*/ 171450 w 171450"/>
                <a:gd name="connsiteY0" fmla="*/ 0 h 0"/>
                <a:gd name="connsiteX1" fmla="*/ 0 w 1714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>
                  <a:moveTo>
                    <a:pt x="171450" y="0"/>
                  </a:moveTo>
                  <a:lnTo>
                    <a:pt x="0" y="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B68F38A5-F3C4-D9FB-C57F-58AFDF59DB70}"/>
                </a:ext>
              </a:extLst>
            </p:cNvPr>
            <p:cNvSpPr/>
            <p:nvPr/>
          </p:nvSpPr>
          <p:spPr>
            <a:xfrm>
              <a:off x="7771047" y="3688871"/>
              <a:ext cx="247650" cy="247650"/>
            </a:xfrm>
            <a:custGeom>
              <a:avLst/>
              <a:gdLst>
                <a:gd name="connsiteX0" fmla="*/ 247650 w 247650"/>
                <a:gd name="connsiteY0" fmla="*/ 123825 h 247650"/>
                <a:gd name="connsiteX1" fmla="*/ 123825 w 247650"/>
                <a:gd name="connsiteY1" fmla="*/ 247650 h 247650"/>
                <a:gd name="connsiteX2" fmla="*/ 0 w 247650"/>
                <a:gd name="connsiteY2" fmla="*/ 123825 h 247650"/>
                <a:gd name="connsiteX3" fmla="*/ 123825 w 247650"/>
                <a:gd name="connsiteY3" fmla="*/ 0 h 247650"/>
                <a:gd name="connsiteX4" fmla="*/ 247650 w 247650"/>
                <a:gd name="connsiteY4" fmla="*/ 123825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247650">
                  <a:moveTo>
                    <a:pt x="247650" y="123825"/>
                  </a:moveTo>
                  <a:cubicBezTo>
                    <a:pt x="247650" y="192212"/>
                    <a:pt x="192212" y="247650"/>
                    <a:pt x="123825" y="247650"/>
                  </a:cubicBezTo>
                  <a:cubicBezTo>
                    <a:pt x="55438" y="247650"/>
                    <a:pt x="0" y="192212"/>
                    <a:pt x="0" y="123825"/>
                  </a:cubicBezTo>
                  <a:cubicBezTo>
                    <a:pt x="0" y="55438"/>
                    <a:pt x="55438" y="0"/>
                    <a:pt x="123825" y="0"/>
                  </a:cubicBezTo>
                  <a:cubicBezTo>
                    <a:pt x="192212" y="0"/>
                    <a:pt x="247650" y="55438"/>
                    <a:pt x="247650" y="123825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C302E54-6C57-370B-682F-688AF53C2A79}"/>
                </a:ext>
              </a:extLst>
            </p:cNvPr>
            <p:cNvSpPr/>
            <p:nvPr/>
          </p:nvSpPr>
          <p:spPr>
            <a:xfrm>
              <a:off x="7809147" y="3726971"/>
              <a:ext cx="152400" cy="85725"/>
            </a:xfrm>
            <a:custGeom>
              <a:avLst/>
              <a:gdLst>
                <a:gd name="connsiteX0" fmla="*/ 0 w 152400"/>
                <a:gd name="connsiteY0" fmla="*/ 85725 h 85725"/>
                <a:gd name="connsiteX1" fmla="*/ 85725 w 152400"/>
                <a:gd name="connsiteY1" fmla="*/ 0 h 85725"/>
                <a:gd name="connsiteX2" fmla="*/ 138970 w 152400"/>
                <a:gd name="connsiteY2" fmla="*/ 18479 h 85725"/>
                <a:gd name="connsiteX3" fmla="*/ 157353 w 152400"/>
                <a:gd name="connsiteY3" fmla="*/ 38576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85725">
                  <a:moveTo>
                    <a:pt x="0" y="85725"/>
                  </a:moveTo>
                  <a:cubicBezTo>
                    <a:pt x="0" y="38386"/>
                    <a:pt x="38386" y="0"/>
                    <a:pt x="85725" y="0"/>
                  </a:cubicBezTo>
                  <a:cubicBezTo>
                    <a:pt x="105823" y="0"/>
                    <a:pt x="124301" y="6953"/>
                    <a:pt x="138970" y="18479"/>
                  </a:cubicBezTo>
                  <a:cubicBezTo>
                    <a:pt x="146114" y="24098"/>
                    <a:pt x="152305" y="30956"/>
                    <a:pt x="157353" y="38576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F0C6D4F-6CCD-3040-941A-0FEE41B4C85E}"/>
                </a:ext>
              </a:extLst>
            </p:cNvPr>
            <p:cNvSpPr/>
            <p:nvPr/>
          </p:nvSpPr>
          <p:spPr>
            <a:xfrm>
              <a:off x="7866297" y="3831746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49DAD00-8B06-5F0C-27AE-2617C98051BA}"/>
                </a:ext>
              </a:extLst>
            </p:cNvPr>
            <p:cNvSpPr/>
            <p:nvPr/>
          </p:nvSpPr>
          <p:spPr>
            <a:xfrm>
              <a:off x="7917637" y="3784121"/>
              <a:ext cx="66675" cy="57150"/>
            </a:xfrm>
            <a:custGeom>
              <a:avLst/>
              <a:gdLst>
                <a:gd name="connsiteX0" fmla="*/ 0 w 66675"/>
                <a:gd name="connsiteY0" fmla="*/ 58960 h 57150"/>
                <a:gd name="connsiteX1" fmla="*/ 72485 w 66675"/>
                <a:gd name="connsiteY1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 h="57150">
                  <a:moveTo>
                    <a:pt x="0" y="58960"/>
                  </a:moveTo>
                  <a:lnTo>
                    <a:pt x="72485" y="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Rectangle 220">
            <a:extLst>
              <a:ext uri="{FF2B5EF4-FFF2-40B4-BE49-F238E27FC236}">
                <a16:creationId xmlns:a16="http://schemas.microsoft.com/office/drawing/2014/main" id="{FC78A760-98CB-C188-06FE-BE7D288F9BD8}"/>
              </a:ext>
            </a:extLst>
          </p:cNvPr>
          <p:cNvSpPr/>
          <p:nvPr/>
        </p:nvSpPr>
        <p:spPr>
          <a:xfrm>
            <a:off x="8059514" y="1940396"/>
            <a:ext cx="2562955" cy="484180"/>
          </a:xfrm>
          <a:prstGeom prst="rect">
            <a:avLst/>
          </a:prstGeom>
        </p:spPr>
        <p:txBody>
          <a:bodyPr wrap="square" lIns="36000" tIns="36000" rIns="3600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Nasdaq Copenh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alt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charset="0"/>
              </a:rPr>
              <a:t>No majority shareholder – 100% free flo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80" name="Graphic 41">
            <a:extLst>
              <a:ext uri="{FF2B5EF4-FFF2-40B4-BE49-F238E27FC236}">
                <a16:creationId xmlns:a16="http://schemas.microsoft.com/office/drawing/2014/main" id="{83EEA606-43D0-FD91-8218-61CF6AFF33AE}"/>
              </a:ext>
            </a:extLst>
          </p:cNvPr>
          <p:cNvGrpSpPr/>
          <p:nvPr/>
        </p:nvGrpSpPr>
        <p:grpSpPr>
          <a:xfrm>
            <a:off x="7348691" y="1945124"/>
            <a:ext cx="464843" cy="458223"/>
            <a:chOff x="7024800" y="3189009"/>
            <a:chExt cx="447675" cy="441293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1F22F15-9814-8FED-0FC0-62BD7B02957F}"/>
                </a:ext>
              </a:extLst>
            </p:cNvPr>
            <p:cNvSpPr/>
            <p:nvPr/>
          </p:nvSpPr>
          <p:spPr>
            <a:xfrm>
              <a:off x="7139100" y="3379509"/>
              <a:ext cx="28575" cy="209550"/>
            </a:xfrm>
            <a:custGeom>
              <a:avLst/>
              <a:gdLst>
                <a:gd name="connsiteX0" fmla="*/ 28575 w 28575"/>
                <a:gd name="connsiteY0" fmla="*/ 0 h 209550"/>
                <a:gd name="connsiteX1" fmla="*/ 0 w 28575"/>
                <a:gd name="connsiteY1" fmla="*/ 33719 h 209550"/>
                <a:gd name="connsiteX2" fmla="*/ 0 w 28575"/>
                <a:gd name="connsiteY2" fmla="*/ 168593 h 209550"/>
                <a:gd name="connsiteX3" fmla="*/ 28575 w 28575"/>
                <a:gd name="connsiteY3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9550">
                  <a:moveTo>
                    <a:pt x="28575" y="0"/>
                  </a:moveTo>
                  <a:lnTo>
                    <a:pt x="0" y="33719"/>
                  </a:lnTo>
                  <a:lnTo>
                    <a:pt x="0" y="168593"/>
                  </a:lnTo>
                  <a:lnTo>
                    <a:pt x="28575" y="20955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383D6507-93AB-63AA-C868-30E3C36B64BE}"/>
                </a:ext>
              </a:extLst>
            </p:cNvPr>
            <p:cNvSpPr/>
            <p:nvPr/>
          </p:nvSpPr>
          <p:spPr>
            <a:xfrm>
              <a:off x="7062900" y="3379509"/>
              <a:ext cx="28575" cy="209550"/>
            </a:xfrm>
            <a:custGeom>
              <a:avLst/>
              <a:gdLst>
                <a:gd name="connsiteX0" fmla="*/ 0 w 28575"/>
                <a:gd name="connsiteY0" fmla="*/ 209550 h 209550"/>
                <a:gd name="connsiteX1" fmla="*/ 28575 w 28575"/>
                <a:gd name="connsiteY1" fmla="*/ 168593 h 209550"/>
                <a:gd name="connsiteX2" fmla="*/ 28575 w 28575"/>
                <a:gd name="connsiteY2" fmla="*/ 33719 h 209550"/>
                <a:gd name="connsiteX3" fmla="*/ 0 w 28575"/>
                <a:gd name="connsiteY3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9550">
                  <a:moveTo>
                    <a:pt x="0" y="209550"/>
                  </a:moveTo>
                  <a:lnTo>
                    <a:pt x="28575" y="168593"/>
                  </a:lnTo>
                  <a:lnTo>
                    <a:pt x="28575" y="33719"/>
                  </a:lnTo>
                  <a:lnTo>
                    <a:pt x="0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953A01F-052A-266B-A320-CB00D7DA7B60}"/>
                </a:ext>
              </a:extLst>
            </p:cNvPr>
            <p:cNvSpPr/>
            <p:nvPr/>
          </p:nvSpPr>
          <p:spPr>
            <a:xfrm>
              <a:off x="7281975" y="3379509"/>
              <a:ext cx="28575" cy="209550"/>
            </a:xfrm>
            <a:custGeom>
              <a:avLst/>
              <a:gdLst>
                <a:gd name="connsiteX0" fmla="*/ 28575 w 28575"/>
                <a:gd name="connsiteY0" fmla="*/ 0 h 209550"/>
                <a:gd name="connsiteX1" fmla="*/ 0 w 28575"/>
                <a:gd name="connsiteY1" fmla="*/ 33719 h 209550"/>
                <a:gd name="connsiteX2" fmla="*/ 0 w 28575"/>
                <a:gd name="connsiteY2" fmla="*/ 168593 h 209550"/>
                <a:gd name="connsiteX3" fmla="*/ 28575 w 28575"/>
                <a:gd name="connsiteY3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9550">
                  <a:moveTo>
                    <a:pt x="28575" y="0"/>
                  </a:moveTo>
                  <a:lnTo>
                    <a:pt x="0" y="33719"/>
                  </a:lnTo>
                  <a:lnTo>
                    <a:pt x="0" y="168593"/>
                  </a:lnTo>
                  <a:lnTo>
                    <a:pt x="28575" y="20955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21BC036-07D5-53D0-1D10-E123E41F1CF7}"/>
                </a:ext>
              </a:extLst>
            </p:cNvPr>
            <p:cNvSpPr/>
            <p:nvPr/>
          </p:nvSpPr>
          <p:spPr>
            <a:xfrm>
              <a:off x="7196250" y="3379509"/>
              <a:ext cx="28575" cy="209550"/>
            </a:xfrm>
            <a:custGeom>
              <a:avLst/>
              <a:gdLst>
                <a:gd name="connsiteX0" fmla="*/ 0 w 28575"/>
                <a:gd name="connsiteY0" fmla="*/ 209550 h 209550"/>
                <a:gd name="connsiteX1" fmla="*/ 28575 w 28575"/>
                <a:gd name="connsiteY1" fmla="*/ 168593 h 209550"/>
                <a:gd name="connsiteX2" fmla="*/ 28575 w 28575"/>
                <a:gd name="connsiteY2" fmla="*/ 33719 h 209550"/>
                <a:gd name="connsiteX3" fmla="*/ 0 w 28575"/>
                <a:gd name="connsiteY3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9550">
                  <a:moveTo>
                    <a:pt x="0" y="209550"/>
                  </a:moveTo>
                  <a:lnTo>
                    <a:pt x="28575" y="168593"/>
                  </a:lnTo>
                  <a:lnTo>
                    <a:pt x="28575" y="33719"/>
                  </a:lnTo>
                  <a:lnTo>
                    <a:pt x="0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160FA6B-06A2-4145-D687-B1696E514352}"/>
                </a:ext>
              </a:extLst>
            </p:cNvPr>
            <p:cNvSpPr/>
            <p:nvPr/>
          </p:nvSpPr>
          <p:spPr>
            <a:xfrm>
              <a:off x="7415325" y="3379509"/>
              <a:ext cx="28575" cy="209550"/>
            </a:xfrm>
            <a:custGeom>
              <a:avLst/>
              <a:gdLst>
                <a:gd name="connsiteX0" fmla="*/ 28575 w 28575"/>
                <a:gd name="connsiteY0" fmla="*/ 209550 h 209550"/>
                <a:gd name="connsiteX1" fmla="*/ 0 w 28575"/>
                <a:gd name="connsiteY1" fmla="*/ 168593 h 209550"/>
                <a:gd name="connsiteX2" fmla="*/ 0 w 28575"/>
                <a:gd name="connsiteY2" fmla="*/ 33719 h 209550"/>
                <a:gd name="connsiteX3" fmla="*/ 28575 w 28575"/>
                <a:gd name="connsiteY3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9550">
                  <a:moveTo>
                    <a:pt x="28575" y="209550"/>
                  </a:moveTo>
                  <a:lnTo>
                    <a:pt x="0" y="168593"/>
                  </a:lnTo>
                  <a:lnTo>
                    <a:pt x="0" y="33719"/>
                  </a:lnTo>
                  <a:lnTo>
                    <a:pt x="28575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5F63F59-D22B-D3FE-F3C9-2A20917F890A}"/>
                </a:ext>
              </a:extLst>
            </p:cNvPr>
            <p:cNvSpPr/>
            <p:nvPr/>
          </p:nvSpPr>
          <p:spPr>
            <a:xfrm>
              <a:off x="7339125" y="3379509"/>
              <a:ext cx="28575" cy="209550"/>
            </a:xfrm>
            <a:custGeom>
              <a:avLst/>
              <a:gdLst>
                <a:gd name="connsiteX0" fmla="*/ 0 w 28575"/>
                <a:gd name="connsiteY0" fmla="*/ 209550 h 209550"/>
                <a:gd name="connsiteX1" fmla="*/ 28575 w 28575"/>
                <a:gd name="connsiteY1" fmla="*/ 168593 h 209550"/>
                <a:gd name="connsiteX2" fmla="*/ 28575 w 28575"/>
                <a:gd name="connsiteY2" fmla="*/ 33719 h 209550"/>
                <a:gd name="connsiteX3" fmla="*/ 0 w 28575"/>
                <a:gd name="connsiteY3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9550">
                  <a:moveTo>
                    <a:pt x="0" y="209550"/>
                  </a:moveTo>
                  <a:lnTo>
                    <a:pt x="28575" y="168593"/>
                  </a:lnTo>
                  <a:lnTo>
                    <a:pt x="28575" y="33719"/>
                  </a:lnTo>
                  <a:lnTo>
                    <a:pt x="0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68FD2A4F-4A43-68E2-A30D-49A8F809068A}"/>
                </a:ext>
              </a:extLst>
            </p:cNvPr>
            <p:cNvSpPr/>
            <p:nvPr/>
          </p:nvSpPr>
          <p:spPr>
            <a:xfrm>
              <a:off x="7034325" y="3198534"/>
              <a:ext cx="438150" cy="114300"/>
            </a:xfrm>
            <a:custGeom>
              <a:avLst/>
              <a:gdLst>
                <a:gd name="connsiteX0" fmla="*/ 342900 w 438150"/>
                <a:gd name="connsiteY0" fmla="*/ 114300 h 114300"/>
                <a:gd name="connsiteX1" fmla="*/ 438150 w 438150"/>
                <a:gd name="connsiteY1" fmla="*/ 114300 h 114300"/>
                <a:gd name="connsiteX2" fmla="*/ 219075 w 438150"/>
                <a:gd name="connsiteY2" fmla="*/ 0 h 114300"/>
                <a:gd name="connsiteX3" fmla="*/ 0 w 438150"/>
                <a:gd name="connsiteY3" fmla="*/ 114300 h 114300"/>
                <a:gd name="connsiteX4" fmla="*/ 219075 w 438150"/>
                <a:gd name="connsiteY4" fmla="*/ 114300 h 114300"/>
                <a:gd name="connsiteX5" fmla="*/ 285750 w 438150"/>
                <a:gd name="connsiteY5" fmla="*/ 11430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150" h="114300">
                  <a:moveTo>
                    <a:pt x="342900" y="114300"/>
                  </a:moveTo>
                  <a:lnTo>
                    <a:pt x="438150" y="114300"/>
                  </a:lnTo>
                  <a:lnTo>
                    <a:pt x="219075" y="0"/>
                  </a:lnTo>
                  <a:lnTo>
                    <a:pt x="0" y="114300"/>
                  </a:lnTo>
                  <a:lnTo>
                    <a:pt x="219075" y="114300"/>
                  </a:lnTo>
                  <a:lnTo>
                    <a:pt x="285750" y="11430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2ECD050-8EB9-D729-CD42-64E515628EF7}"/>
                </a:ext>
              </a:extLst>
            </p:cNvPr>
            <p:cNvSpPr/>
            <p:nvPr/>
          </p:nvSpPr>
          <p:spPr>
            <a:xfrm>
              <a:off x="7034325" y="3312834"/>
              <a:ext cx="438150" cy="66675"/>
            </a:xfrm>
            <a:custGeom>
              <a:avLst/>
              <a:gdLst>
                <a:gd name="connsiteX0" fmla="*/ 0 w 438150"/>
                <a:gd name="connsiteY0" fmla="*/ 0 h 66675"/>
                <a:gd name="connsiteX1" fmla="*/ 0 w 438150"/>
                <a:gd name="connsiteY1" fmla="*/ 66675 h 66675"/>
                <a:gd name="connsiteX2" fmla="*/ 438150 w 438150"/>
                <a:gd name="connsiteY2" fmla="*/ 66675 h 66675"/>
                <a:gd name="connsiteX3" fmla="*/ 438150 w 438150"/>
                <a:gd name="connsiteY3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66675">
                  <a:moveTo>
                    <a:pt x="0" y="0"/>
                  </a:moveTo>
                  <a:lnTo>
                    <a:pt x="0" y="66675"/>
                  </a:lnTo>
                  <a:lnTo>
                    <a:pt x="438150" y="66675"/>
                  </a:lnTo>
                  <a:lnTo>
                    <a:pt x="438150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ACCD09C7-A570-4F03-6115-455AE4F38325}"/>
                </a:ext>
              </a:extLst>
            </p:cNvPr>
            <p:cNvSpPr/>
            <p:nvPr/>
          </p:nvSpPr>
          <p:spPr>
            <a:xfrm>
              <a:off x="7062900" y="3589059"/>
              <a:ext cx="381000" cy="9525"/>
            </a:xfrm>
            <a:custGeom>
              <a:avLst/>
              <a:gdLst>
                <a:gd name="connsiteX0" fmla="*/ 0 w 381000"/>
                <a:gd name="connsiteY0" fmla="*/ 0 h 0"/>
                <a:gd name="connsiteX1" fmla="*/ 381000 w 381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0">
                  <a:moveTo>
                    <a:pt x="0" y="0"/>
                  </a:moveTo>
                  <a:lnTo>
                    <a:pt x="381000" y="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63EAC3E-AAAD-31C7-950A-DFA414977C20}"/>
                </a:ext>
              </a:extLst>
            </p:cNvPr>
            <p:cNvSpPr/>
            <p:nvPr/>
          </p:nvSpPr>
          <p:spPr>
            <a:xfrm>
              <a:off x="7034325" y="3611252"/>
              <a:ext cx="438150" cy="19050"/>
            </a:xfrm>
            <a:custGeom>
              <a:avLst/>
              <a:gdLst>
                <a:gd name="connsiteX0" fmla="*/ 0 w 438150"/>
                <a:gd name="connsiteY0" fmla="*/ 0 h 19050"/>
                <a:gd name="connsiteX1" fmla="*/ 0 w 438150"/>
                <a:gd name="connsiteY1" fmla="*/ 25432 h 19050"/>
                <a:gd name="connsiteX2" fmla="*/ 438150 w 438150"/>
                <a:gd name="connsiteY2" fmla="*/ 25432 h 19050"/>
                <a:gd name="connsiteX3" fmla="*/ 438150 w 438150"/>
                <a:gd name="connsiteY3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150" h="19050">
                  <a:moveTo>
                    <a:pt x="0" y="0"/>
                  </a:moveTo>
                  <a:lnTo>
                    <a:pt x="0" y="25432"/>
                  </a:lnTo>
                  <a:lnTo>
                    <a:pt x="438150" y="25432"/>
                  </a:lnTo>
                  <a:lnTo>
                    <a:pt x="438150" y="0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82ECE24D-4E05-E86B-16A7-F1CAD632E057}"/>
                </a:ext>
              </a:extLst>
            </p:cNvPr>
            <p:cNvSpPr/>
            <p:nvPr/>
          </p:nvSpPr>
          <p:spPr>
            <a:xfrm>
              <a:off x="7024800" y="3189009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/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5C3E687-D2DB-4566-30E9-284CAA34B401}"/>
              </a:ext>
            </a:extLst>
          </p:cNvPr>
          <p:cNvGrpSpPr>
            <a:grpSpLocks noChangeAspect="1"/>
          </p:cNvGrpSpPr>
          <p:nvPr/>
        </p:nvGrpSpPr>
        <p:grpSpPr>
          <a:xfrm>
            <a:off x="4199783" y="2256387"/>
            <a:ext cx="913579" cy="738000"/>
            <a:chOff x="8285267" y="4384684"/>
            <a:chExt cx="2001322" cy="1616694"/>
          </a:xfrm>
        </p:grpSpPr>
        <p:grpSp>
          <p:nvGrpSpPr>
            <p:cNvPr id="93" name="Graphic 791">
              <a:extLst>
                <a:ext uri="{FF2B5EF4-FFF2-40B4-BE49-F238E27FC236}">
                  <a16:creationId xmlns:a16="http://schemas.microsoft.com/office/drawing/2014/main" id="{3ACD7727-D69F-D49D-C208-49BAFE62FC1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128363" y="5048116"/>
              <a:ext cx="1158226" cy="953262"/>
              <a:chOff x="1272245" y="4931430"/>
              <a:chExt cx="891568" cy="733794"/>
            </a:xfrm>
            <a:noFill/>
          </p:grpSpPr>
          <p:grpSp>
            <p:nvGrpSpPr>
              <p:cNvPr id="108" name="Graphic 791">
                <a:extLst>
                  <a:ext uri="{FF2B5EF4-FFF2-40B4-BE49-F238E27FC236}">
                    <a16:creationId xmlns:a16="http://schemas.microsoft.com/office/drawing/2014/main" id="{451F6FA2-2935-F4DD-4781-AFCDF78901E0}"/>
                  </a:ext>
                </a:extLst>
              </p:cNvPr>
              <p:cNvGrpSpPr/>
              <p:nvPr/>
            </p:nvGrpSpPr>
            <p:grpSpPr>
              <a:xfrm>
                <a:off x="1544627" y="4967152"/>
                <a:ext cx="267916" cy="163727"/>
                <a:chOff x="1544627" y="4967152"/>
                <a:chExt cx="267916" cy="163727"/>
              </a:xfrm>
              <a:noFill/>
            </p:grpSpPr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430A7ACE-6965-ED2D-AC08-CB5002BC88DB}"/>
                    </a:ext>
                  </a:extLst>
                </p:cNvPr>
                <p:cNvSpPr/>
                <p:nvPr/>
              </p:nvSpPr>
              <p:spPr>
                <a:xfrm>
                  <a:off x="1544627" y="4967152"/>
                  <a:ext cx="267916" cy="163727"/>
                </a:xfrm>
                <a:custGeom>
                  <a:avLst/>
                  <a:gdLst>
                    <a:gd name="connsiteX0" fmla="*/ 0 w 267916"/>
                    <a:gd name="connsiteY0" fmla="*/ 0 h 163727"/>
                    <a:gd name="connsiteX1" fmla="*/ 267917 w 267916"/>
                    <a:gd name="connsiteY1" fmla="*/ 0 h 163727"/>
                    <a:gd name="connsiteX2" fmla="*/ 267917 w 267916"/>
                    <a:gd name="connsiteY2" fmla="*/ 163727 h 163727"/>
                    <a:gd name="connsiteX3" fmla="*/ 0 w 267916"/>
                    <a:gd name="connsiteY3" fmla="*/ 163727 h 163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7916" h="163727">
                      <a:moveTo>
                        <a:pt x="0" y="0"/>
                      </a:moveTo>
                      <a:lnTo>
                        <a:pt x="267917" y="0"/>
                      </a:lnTo>
                      <a:lnTo>
                        <a:pt x="267917" y="163727"/>
                      </a:lnTo>
                      <a:lnTo>
                        <a:pt x="0" y="163727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1B50B61F-F545-833A-B65B-677BC377BA6D}"/>
                    </a:ext>
                  </a:extLst>
                </p:cNvPr>
                <p:cNvSpPr/>
                <p:nvPr/>
              </p:nvSpPr>
              <p:spPr>
                <a:xfrm>
                  <a:off x="1678585" y="5034131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04845C10-E576-50EB-6A46-034499759025}"/>
                    </a:ext>
                  </a:extLst>
                </p:cNvPr>
                <p:cNvSpPr/>
                <p:nvPr/>
              </p:nvSpPr>
              <p:spPr>
                <a:xfrm>
                  <a:off x="1619048" y="5034131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352FB74D-27CA-4DE0-17C3-DA4AE0FEDBCE}"/>
                    </a:ext>
                  </a:extLst>
                </p:cNvPr>
                <p:cNvSpPr/>
                <p:nvPr/>
              </p:nvSpPr>
              <p:spPr>
                <a:xfrm>
                  <a:off x="1738123" y="5034131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9" name="Graphic 791">
                <a:extLst>
                  <a:ext uri="{FF2B5EF4-FFF2-40B4-BE49-F238E27FC236}">
                    <a16:creationId xmlns:a16="http://schemas.microsoft.com/office/drawing/2014/main" id="{382E0D10-D851-8A5D-8DD5-55F475A24464}"/>
                  </a:ext>
                </a:extLst>
              </p:cNvPr>
              <p:cNvGrpSpPr/>
              <p:nvPr/>
            </p:nvGrpSpPr>
            <p:grpSpPr>
              <a:xfrm>
                <a:off x="1407692" y="5130879"/>
                <a:ext cx="267916" cy="163727"/>
                <a:chOff x="1407692" y="5130879"/>
                <a:chExt cx="267916" cy="163727"/>
              </a:xfrm>
              <a:noFill/>
            </p:grpSpPr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56106F38-5F49-AE88-AFD0-0975969D3D25}"/>
                    </a:ext>
                  </a:extLst>
                </p:cNvPr>
                <p:cNvSpPr/>
                <p:nvPr/>
              </p:nvSpPr>
              <p:spPr>
                <a:xfrm>
                  <a:off x="1407692" y="5130879"/>
                  <a:ext cx="267916" cy="163727"/>
                </a:xfrm>
                <a:custGeom>
                  <a:avLst/>
                  <a:gdLst>
                    <a:gd name="connsiteX0" fmla="*/ 0 w 267916"/>
                    <a:gd name="connsiteY0" fmla="*/ 0 h 163727"/>
                    <a:gd name="connsiteX1" fmla="*/ 267917 w 267916"/>
                    <a:gd name="connsiteY1" fmla="*/ 0 h 163727"/>
                    <a:gd name="connsiteX2" fmla="*/ 267917 w 267916"/>
                    <a:gd name="connsiteY2" fmla="*/ 163727 h 163727"/>
                    <a:gd name="connsiteX3" fmla="*/ 0 w 267916"/>
                    <a:gd name="connsiteY3" fmla="*/ 163727 h 163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7916" h="163727">
                      <a:moveTo>
                        <a:pt x="0" y="0"/>
                      </a:moveTo>
                      <a:lnTo>
                        <a:pt x="267917" y="0"/>
                      </a:lnTo>
                      <a:lnTo>
                        <a:pt x="267917" y="163727"/>
                      </a:lnTo>
                      <a:lnTo>
                        <a:pt x="0" y="163727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4F1E5732-1208-2C9B-3EFF-A35945638C10}"/>
                    </a:ext>
                  </a:extLst>
                </p:cNvPr>
                <p:cNvSpPr/>
                <p:nvPr/>
              </p:nvSpPr>
              <p:spPr>
                <a:xfrm>
                  <a:off x="1541650" y="5197858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B9FC47C8-D16C-D55F-927C-83B6AFA2D286}"/>
                    </a:ext>
                  </a:extLst>
                </p:cNvPr>
                <p:cNvSpPr/>
                <p:nvPr/>
              </p:nvSpPr>
              <p:spPr>
                <a:xfrm>
                  <a:off x="1482113" y="5197858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177FC1D4-5090-9BA8-61C3-F758B7C487AA}"/>
                    </a:ext>
                  </a:extLst>
                </p:cNvPr>
                <p:cNvSpPr/>
                <p:nvPr/>
              </p:nvSpPr>
              <p:spPr>
                <a:xfrm>
                  <a:off x="1602676" y="5197858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0" name="Graphic 791">
                <a:extLst>
                  <a:ext uri="{FF2B5EF4-FFF2-40B4-BE49-F238E27FC236}">
                    <a16:creationId xmlns:a16="http://schemas.microsoft.com/office/drawing/2014/main" id="{3DA593B9-109F-696C-3A24-BF806AD97799}"/>
                  </a:ext>
                </a:extLst>
              </p:cNvPr>
              <p:cNvGrpSpPr/>
              <p:nvPr/>
            </p:nvGrpSpPr>
            <p:grpSpPr>
              <a:xfrm>
                <a:off x="1675609" y="5130879"/>
                <a:ext cx="269405" cy="193495"/>
                <a:chOff x="1675609" y="5130879"/>
                <a:chExt cx="269405" cy="193495"/>
              </a:xfrm>
              <a:noFill/>
            </p:grpSpPr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8595B35C-E160-CF8F-811D-4BC4B9996AB3}"/>
                    </a:ext>
                  </a:extLst>
                </p:cNvPr>
                <p:cNvSpPr/>
                <p:nvPr/>
              </p:nvSpPr>
              <p:spPr>
                <a:xfrm>
                  <a:off x="1675609" y="5130879"/>
                  <a:ext cx="269405" cy="193495"/>
                </a:xfrm>
                <a:custGeom>
                  <a:avLst/>
                  <a:gdLst>
                    <a:gd name="connsiteX0" fmla="*/ 0 w 269405"/>
                    <a:gd name="connsiteY0" fmla="*/ 174146 h 193495"/>
                    <a:gd name="connsiteX1" fmla="*/ 0 w 269405"/>
                    <a:gd name="connsiteY1" fmla="*/ 0 h 193495"/>
                    <a:gd name="connsiteX2" fmla="*/ 269405 w 269405"/>
                    <a:gd name="connsiteY2" fmla="*/ 0 h 193495"/>
                    <a:gd name="connsiteX3" fmla="*/ 269405 w 269405"/>
                    <a:gd name="connsiteY3" fmla="*/ 193496 h 193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9405" h="193495">
                      <a:moveTo>
                        <a:pt x="0" y="174146"/>
                      </a:moveTo>
                      <a:lnTo>
                        <a:pt x="0" y="0"/>
                      </a:lnTo>
                      <a:lnTo>
                        <a:pt x="269405" y="0"/>
                      </a:lnTo>
                      <a:lnTo>
                        <a:pt x="269405" y="193496"/>
                      </a:lnTo>
                    </a:path>
                  </a:pathLst>
                </a:custGeom>
                <a:noFill/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1F5DF0AF-BC60-9891-D804-E67371F35832}"/>
                    </a:ext>
                  </a:extLst>
                </p:cNvPr>
                <p:cNvSpPr/>
                <p:nvPr/>
              </p:nvSpPr>
              <p:spPr>
                <a:xfrm>
                  <a:off x="1809567" y="5197858"/>
                  <a:ext cx="14884" cy="64002"/>
                </a:xfrm>
                <a:custGeom>
                  <a:avLst/>
                  <a:gdLst>
                    <a:gd name="connsiteX0" fmla="*/ 0 w 14884"/>
                    <a:gd name="connsiteY0" fmla="*/ 0 h 64002"/>
                    <a:gd name="connsiteX1" fmla="*/ 0 w 14884"/>
                    <a:gd name="connsiteY1" fmla="*/ 64002 h 6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64002">
                      <a:moveTo>
                        <a:pt x="0" y="0"/>
                      </a:moveTo>
                      <a:lnTo>
                        <a:pt x="0" y="64002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9866E3BC-3354-7BFF-BEDF-CD500AB29B02}"/>
                    </a:ext>
                  </a:extLst>
                </p:cNvPr>
                <p:cNvSpPr/>
                <p:nvPr/>
              </p:nvSpPr>
              <p:spPr>
                <a:xfrm>
                  <a:off x="1750030" y="5197858"/>
                  <a:ext cx="14884" cy="64002"/>
                </a:xfrm>
                <a:custGeom>
                  <a:avLst/>
                  <a:gdLst>
                    <a:gd name="connsiteX0" fmla="*/ 0 w 14884"/>
                    <a:gd name="connsiteY0" fmla="*/ 0 h 64002"/>
                    <a:gd name="connsiteX1" fmla="*/ 0 w 14884"/>
                    <a:gd name="connsiteY1" fmla="*/ 64002 h 6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64002">
                      <a:moveTo>
                        <a:pt x="0" y="0"/>
                      </a:moveTo>
                      <a:lnTo>
                        <a:pt x="0" y="64002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F710A0B7-F278-A13E-50A2-BF3C7934A0AC}"/>
                    </a:ext>
                  </a:extLst>
                </p:cNvPr>
                <p:cNvSpPr/>
                <p:nvPr/>
              </p:nvSpPr>
              <p:spPr>
                <a:xfrm>
                  <a:off x="1870593" y="5197858"/>
                  <a:ext cx="14884" cy="64002"/>
                </a:xfrm>
                <a:custGeom>
                  <a:avLst/>
                  <a:gdLst>
                    <a:gd name="connsiteX0" fmla="*/ 0 w 14884"/>
                    <a:gd name="connsiteY0" fmla="*/ 0 h 64002"/>
                    <a:gd name="connsiteX1" fmla="*/ 0 w 14884"/>
                    <a:gd name="connsiteY1" fmla="*/ 64002 h 6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64002">
                      <a:moveTo>
                        <a:pt x="0" y="0"/>
                      </a:moveTo>
                      <a:lnTo>
                        <a:pt x="0" y="64002"/>
                      </a:lnTo>
                    </a:path>
                  </a:pathLst>
                </a:custGeom>
                <a:ln w="1905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75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A2108445-6AA5-617B-0463-2D4BA90B71CB}"/>
                  </a:ext>
                </a:extLst>
              </p:cNvPr>
              <p:cNvSpPr/>
              <p:nvPr/>
            </p:nvSpPr>
            <p:spPr>
              <a:xfrm>
                <a:off x="1907803" y="5066877"/>
                <a:ext cx="217310" cy="263451"/>
              </a:xfrm>
              <a:custGeom>
                <a:avLst/>
                <a:gdLst>
                  <a:gd name="connsiteX0" fmla="*/ 0 w 217310"/>
                  <a:gd name="connsiteY0" fmla="*/ 0 h 263451"/>
                  <a:gd name="connsiteX1" fmla="*/ 181588 w 217310"/>
                  <a:gd name="connsiteY1" fmla="*/ 0 h 263451"/>
                  <a:gd name="connsiteX2" fmla="*/ 181588 w 217310"/>
                  <a:gd name="connsiteY2" fmla="*/ 81864 h 263451"/>
                  <a:gd name="connsiteX3" fmla="*/ 217310 w 217310"/>
                  <a:gd name="connsiteY3" fmla="*/ 81864 h 263451"/>
                  <a:gd name="connsiteX4" fmla="*/ 217310 w 217310"/>
                  <a:gd name="connsiteY4" fmla="*/ 151820 h 263451"/>
                  <a:gd name="connsiteX5" fmla="*/ 181588 w 217310"/>
                  <a:gd name="connsiteY5" fmla="*/ 151820 h 263451"/>
                  <a:gd name="connsiteX6" fmla="*/ 181588 w 217310"/>
                  <a:gd name="connsiteY6" fmla="*/ 263452 h 263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7310" h="263451">
                    <a:moveTo>
                      <a:pt x="0" y="0"/>
                    </a:moveTo>
                    <a:lnTo>
                      <a:pt x="181588" y="0"/>
                    </a:lnTo>
                    <a:lnTo>
                      <a:pt x="181588" y="81864"/>
                    </a:lnTo>
                    <a:lnTo>
                      <a:pt x="217310" y="81864"/>
                    </a:lnTo>
                    <a:lnTo>
                      <a:pt x="217310" y="151820"/>
                    </a:lnTo>
                    <a:lnTo>
                      <a:pt x="181588" y="151820"/>
                    </a:lnTo>
                    <a:lnTo>
                      <a:pt x="181588" y="263452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901E1750-7881-0017-1735-944F82FC2364}"/>
                  </a:ext>
                </a:extLst>
              </p:cNvPr>
              <p:cNvSpPr/>
              <p:nvPr/>
            </p:nvSpPr>
            <p:spPr>
              <a:xfrm>
                <a:off x="2047715" y="4931430"/>
                <a:ext cx="14884" cy="126516"/>
              </a:xfrm>
              <a:custGeom>
                <a:avLst/>
                <a:gdLst>
                  <a:gd name="connsiteX0" fmla="*/ 0 w 14884"/>
                  <a:gd name="connsiteY0" fmla="*/ 0 h 126516"/>
                  <a:gd name="connsiteX1" fmla="*/ 0 w 14884"/>
                  <a:gd name="connsiteY1" fmla="*/ 126516 h 126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84" h="126516">
                    <a:moveTo>
                      <a:pt x="0" y="0"/>
                    </a:moveTo>
                    <a:lnTo>
                      <a:pt x="0" y="126516"/>
                    </a:lnTo>
                  </a:path>
                </a:pathLst>
              </a:custGeom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7AE1C9FB-27E5-0FEA-4994-3115BCE533D1}"/>
                  </a:ext>
                </a:extLst>
              </p:cNvPr>
              <p:cNvSpPr/>
              <p:nvPr/>
            </p:nvSpPr>
            <p:spPr>
              <a:xfrm>
                <a:off x="1986690" y="5004363"/>
                <a:ext cx="14884" cy="53583"/>
              </a:xfrm>
              <a:custGeom>
                <a:avLst/>
                <a:gdLst>
                  <a:gd name="connsiteX0" fmla="*/ 0 w 14884"/>
                  <a:gd name="connsiteY0" fmla="*/ 0 h 53583"/>
                  <a:gd name="connsiteX1" fmla="*/ 0 w 14884"/>
                  <a:gd name="connsiteY1" fmla="*/ 53583 h 53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84" h="53583">
                    <a:moveTo>
                      <a:pt x="0" y="0"/>
                    </a:moveTo>
                    <a:lnTo>
                      <a:pt x="0" y="53583"/>
                    </a:lnTo>
                  </a:path>
                </a:pathLst>
              </a:custGeom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98A83525-13BA-C305-8DCF-49FF4F8B408B}"/>
                  </a:ext>
                </a:extLst>
              </p:cNvPr>
              <p:cNvSpPr/>
              <p:nvPr/>
            </p:nvSpPr>
            <p:spPr>
              <a:xfrm>
                <a:off x="1327317" y="5293118"/>
                <a:ext cx="797797" cy="214333"/>
              </a:xfrm>
              <a:custGeom>
                <a:avLst/>
                <a:gdLst>
                  <a:gd name="connsiteX0" fmla="*/ 138424 w 797797"/>
                  <a:gd name="connsiteY0" fmla="*/ 214334 h 214333"/>
                  <a:gd name="connsiteX1" fmla="*/ 0 w 797797"/>
                  <a:gd name="connsiteY1" fmla="*/ 0 h 214333"/>
                  <a:gd name="connsiteX2" fmla="*/ 324477 w 797797"/>
                  <a:gd name="connsiteY2" fmla="*/ 0 h 214333"/>
                  <a:gd name="connsiteX3" fmla="*/ 409318 w 797797"/>
                  <a:gd name="connsiteY3" fmla="*/ 35722 h 214333"/>
                  <a:gd name="connsiteX4" fmla="*/ 797797 w 797797"/>
                  <a:gd name="connsiteY4" fmla="*/ 35722 h 214333"/>
                  <a:gd name="connsiteX5" fmla="*/ 797797 w 797797"/>
                  <a:gd name="connsiteY5" fmla="*/ 144377 h 214333"/>
                  <a:gd name="connsiteX6" fmla="*/ 787378 w 797797"/>
                  <a:gd name="connsiteY6" fmla="*/ 200938 h 21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7797" h="214333">
                    <a:moveTo>
                      <a:pt x="138424" y="214334"/>
                    </a:moveTo>
                    <a:cubicBezTo>
                      <a:pt x="138424" y="110144"/>
                      <a:pt x="0" y="110144"/>
                      <a:pt x="0" y="0"/>
                    </a:cubicBezTo>
                    <a:lnTo>
                      <a:pt x="324477" y="0"/>
                    </a:lnTo>
                    <a:lnTo>
                      <a:pt x="409318" y="35722"/>
                    </a:lnTo>
                    <a:cubicBezTo>
                      <a:pt x="409318" y="35722"/>
                      <a:pt x="744214" y="35722"/>
                      <a:pt x="797797" y="35722"/>
                    </a:cubicBezTo>
                    <a:lnTo>
                      <a:pt x="797797" y="144377"/>
                    </a:lnTo>
                    <a:cubicBezTo>
                      <a:pt x="797797" y="171169"/>
                      <a:pt x="796309" y="187542"/>
                      <a:pt x="787378" y="200938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484A723E-2B99-EF41-55AF-F555A7411916}"/>
                  </a:ext>
                </a:extLst>
              </p:cNvPr>
              <p:cNvSpPr/>
              <p:nvPr/>
            </p:nvSpPr>
            <p:spPr>
              <a:xfrm>
                <a:off x="1430018" y="5476669"/>
                <a:ext cx="733794" cy="57574"/>
              </a:xfrm>
              <a:custGeom>
                <a:avLst/>
                <a:gdLst>
                  <a:gd name="connsiteX0" fmla="*/ 0 w 733794"/>
                  <a:gd name="connsiteY0" fmla="*/ 57574 h 57574"/>
                  <a:gd name="connsiteX1" fmla="*/ 59537 w 733794"/>
                  <a:gd name="connsiteY1" fmla="*/ 9944 h 57574"/>
                  <a:gd name="connsiteX2" fmla="*/ 102701 w 733794"/>
                  <a:gd name="connsiteY2" fmla="*/ 12921 h 57574"/>
                  <a:gd name="connsiteX3" fmla="*/ 125028 w 733794"/>
                  <a:gd name="connsiteY3" fmla="*/ 35248 h 57574"/>
                  <a:gd name="connsiteX4" fmla="*/ 169681 w 733794"/>
                  <a:gd name="connsiteY4" fmla="*/ 38225 h 57574"/>
                  <a:gd name="connsiteX5" fmla="*/ 203915 w 733794"/>
                  <a:gd name="connsiteY5" fmla="*/ 9944 h 57574"/>
                  <a:gd name="connsiteX6" fmla="*/ 247079 w 733794"/>
                  <a:gd name="connsiteY6" fmla="*/ 11433 h 57574"/>
                  <a:gd name="connsiteX7" fmla="*/ 272382 w 733794"/>
                  <a:gd name="connsiteY7" fmla="*/ 35248 h 57574"/>
                  <a:gd name="connsiteX8" fmla="*/ 317035 w 733794"/>
                  <a:gd name="connsiteY8" fmla="*/ 36736 h 57574"/>
                  <a:gd name="connsiteX9" fmla="*/ 348292 w 733794"/>
                  <a:gd name="connsiteY9" fmla="*/ 9944 h 57574"/>
                  <a:gd name="connsiteX10" fmla="*/ 391456 w 733794"/>
                  <a:gd name="connsiteY10" fmla="*/ 9944 h 57574"/>
                  <a:gd name="connsiteX11" fmla="*/ 419737 w 733794"/>
                  <a:gd name="connsiteY11" fmla="*/ 35248 h 57574"/>
                  <a:gd name="connsiteX12" fmla="*/ 462901 w 733794"/>
                  <a:gd name="connsiteY12" fmla="*/ 35248 h 57574"/>
                  <a:gd name="connsiteX13" fmla="*/ 489693 w 733794"/>
                  <a:gd name="connsiteY13" fmla="*/ 9944 h 57574"/>
                  <a:gd name="connsiteX14" fmla="*/ 532857 w 733794"/>
                  <a:gd name="connsiteY14" fmla="*/ 8456 h 57574"/>
                  <a:gd name="connsiteX15" fmla="*/ 564114 w 733794"/>
                  <a:gd name="connsiteY15" fmla="*/ 35248 h 57574"/>
                  <a:gd name="connsiteX16" fmla="*/ 608767 w 733794"/>
                  <a:gd name="connsiteY16" fmla="*/ 33759 h 57574"/>
                  <a:gd name="connsiteX17" fmla="*/ 632582 w 733794"/>
                  <a:gd name="connsiteY17" fmla="*/ 9944 h 57574"/>
                  <a:gd name="connsiteX18" fmla="*/ 675746 w 733794"/>
                  <a:gd name="connsiteY18" fmla="*/ 6967 h 57574"/>
                  <a:gd name="connsiteX19" fmla="*/ 733795 w 733794"/>
                  <a:gd name="connsiteY19" fmla="*/ 53109 h 57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33794" h="57574">
                    <a:moveTo>
                      <a:pt x="0" y="57574"/>
                    </a:moveTo>
                    <a:lnTo>
                      <a:pt x="59537" y="9944"/>
                    </a:lnTo>
                    <a:cubicBezTo>
                      <a:pt x="72933" y="-475"/>
                      <a:pt x="90794" y="1014"/>
                      <a:pt x="102701" y="12921"/>
                    </a:cubicBezTo>
                    <a:lnTo>
                      <a:pt x="125028" y="35248"/>
                    </a:lnTo>
                    <a:cubicBezTo>
                      <a:pt x="136935" y="47155"/>
                      <a:pt x="156285" y="48644"/>
                      <a:pt x="169681" y="38225"/>
                    </a:cubicBezTo>
                    <a:lnTo>
                      <a:pt x="203915" y="9944"/>
                    </a:lnTo>
                    <a:cubicBezTo>
                      <a:pt x="217310" y="-475"/>
                      <a:pt x="235172" y="-475"/>
                      <a:pt x="247079" y="11433"/>
                    </a:cubicBezTo>
                    <a:lnTo>
                      <a:pt x="272382" y="35248"/>
                    </a:lnTo>
                    <a:cubicBezTo>
                      <a:pt x="285778" y="47155"/>
                      <a:pt x="303639" y="47155"/>
                      <a:pt x="317035" y="36736"/>
                    </a:cubicBezTo>
                    <a:lnTo>
                      <a:pt x="348292" y="9944"/>
                    </a:lnTo>
                    <a:cubicBezTo>
                      <a:pt x="361688" y="-1963"/>
                      <a:pt x="378061" y="-475"/>
                      <a:pt x="391456" y="9944"/>
                    </a:cubicBezTo>
                    <a:lnTo>
                      <a:pt x="419737" y="35248"/>
                    </a:lnTo>
                    <a:cubicBezTo>
                      <a:pt x="433132" y="47155"/>
                      <a:pt x="450994" y="47155"/>
                      <a:pt x="462901" y="35248"/>
                    </a:cubicBezTo>
                    <a:lnTo>
                      <a:pt x="489693" y="9944"/>
                    </a:lnTo>
                    <a:cubicBezTo>
                      <a:pt x="503089" y="-1963"/>
                      <a:pt x="519461" y="-1963"/>
                      <a:pt x="532857" y="8456"/>
                    </a:cubicBezTo>
                    <a:lnTo>
                      <a:pt x="564114" y="35248"/>
                    </a:lnTo>
                    <a:cubicBezTo>
                      <a:pt x="577510" y="47155"/>
                      <a:pt x="595371" y="45667"/>
                      <a:pt x="608767" y="33759"/>
                    </a:cubicBezTo>
                    <a:lnTo>
                      <a:pt x="632582" y="9944"/>
                    </a:lnTo>
                    <a:cubicBezTo>
                      <a:pt x="644489" y="-1963"/>
                      <a:pt x="662350" y="-3451"/>
                      <a:pt x="675746" y="6967"/>
                    </a:cubicBezTo>
                    <a:lnTo>
                      <a:pt x="733795" y="53109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F8D3FCAB-4AB5-1E94-3ADC-AAE931D61857}"/>
                  </a:ext>
                </a:extLst>
              </p:cNvPr>
              <p:cNvSpPr/>
              <p:nvPr/>
            </p:nvSpPr>
            <p:spPr>
              <a:xfrm>
                <a:off x="1272245" y="5605055"/>
                <a:ext cx="778447" cy="60169"/>
              </a:xfrm>
              <a:custGeom>
                <a:avLst/>
                <a:gdLst>
                  <a:gd name="connsiteX0" fmla="*/ 0 w 778447"/>
                  <a:gd name="connsiteY0" fmla="*/ 27424 h 60169"/>
                  <a:gd name="connsiteX1" fmla="*/ 17861 w 778447"/>
                  <a:gd name="connsiteY1" fmla="*/ 14028 h 60169"/>
                  <a:gd name="connsiteX2" fmla="*/ 66979 w 778447"/>
                  <a:gd name="connsiteY2" fmla="*/ 17005 h 60169"/>
                  <a:gd name="connsiteX3" fmla="*/ 92283 w 778447"/>
                  <a:gd name="connsiteY3" fmla="*/ 42308 h 60169"/>
                  <a:gd name="connsiteX4" fmla="*/ 141401 w 778447"/>
                  <a:gd name="connsiteY4" fmla="*/ 45285 h 60169"/>
                  <a:gd name="connsiteX5" fmla="*/ 178611 w 778447"/>
                  <a:gd name="connsiteY5" fmla="*/ 14028 h 60169"/>
                  <a:gd name="connsiteX6" fmla="*/ 227729 w 778447"/>
                  <a:gd name="connsiteY6" fmla="*/ 15516 h 60169"/>
                  <a:gd name="connsiteX7" fmla="*/ 257498 w 778447"/>
                  <a:gd name="connsiteY7" fmla="*/ 42308 h 60169"/>
                  <a:gd name="connsiteX8" fmla="*/ 306616 w 778447"/>
                  <a:gd name="connsiteY8" fmla="*/ 43796 h 60169"/>
                  <a:gd name="connsiteX9" fmla="*/ 340850 w 778447"/>
                  <a:gd name="connsiteY9" fmla="*/ 14028 h 60169"/>
                  <a:gd name="connsiteX10" fmla="*/ 389968 w 778447"/>
                  <a:gd name="connsiteY10" fmla="*/ 14028 h 60169"/>
                  <a:gd name="connsiteX11" fmla="*/ 422713 w 778447"/>
                  <a:gd name="connsiteY11" fmla="*/ 42308 h 60169"/>
                  <a:gd name="connsiteX12" fmla="*/ 471832 w 778447"/>
                  <a:gd name="connsiteY12" fmla="*/ 40819 h 60169"/>
                  <a:gd name="connsiteX13" fmla="*/ 503088 w 778447"/>
                  <a:gd name="connsiteY13" fmla="*/ 12539 h 60169"/>
                  <a:gd name="connsiteX14" fmla="*/ 552207 w 778447"/>
                  <a:gd name="connsiteY14" fmla="*/ 11051 h 60169"/>
                  <a:gd name="connsiteX15" fmla="*/ 587929 w 778447"/>
                  <a:gd name="connsiteY15" fmla="*/ 40819 h 60169"/>
                  <a:gd name="connsiteX16" fmla="*/ 637047 w 778447"/>
                  <a:gd name="connsiteY16" fmla="*/ 37843 h 60169"/>
                  <a:gd name="connsiteX17" fmla="*/ 663839 w 778447"/>
                  <a:gd name="connsiteY17" fmla="*/ 11051 h 60169"/>
                  <a:gd name="connsiteX18" fmla="*/ 712957 w 778447"/>
                  <a:gd name="connsiteY18" fmla="*/ 8074 h 60169"/>
                  <a:gd name="connsiteX19" fmla="*/ 778448 w 778447"/>
                  <a:gd name="connsiteY19" fmla="*/ 60169 h 6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78447" h="60169">
                    <a:moveTo>
                      <a:pt x="0" y="27424"/>
                    </a:moveTo>
                    <a:lnTo>
                      <a:pt x="17861" y="14028"/>
                    </a:lnTo>
                    <a:cubicBezTo>
                      <a:pt x="32745" y="2120"/>
                      <a:pt x="52095" y="3609"/>
                      <a:pt x="66979" y="17005"/>
                    </a:cubicBezTo>
                    <a:lnTo>
                      <a:pt x="92283" y="42308"/>
                    </a:lnTo>
                    <a:cubicBezTo>
                      <a:pt x="107167" y="57192"/>
                      <a:pt x="126516" y="57192"/>
                      <a:pt x="141401" y="45285"/>
                    </a:cubicBezTo>
                    <a:lnTo>
                      <a:pt x="178611" y="14028"/>
                    </a:lnTo>
                    <a:cubicBezTo>
                      <a:pt x="193496" y="2120"/>
                      <a:pt x="212845" y="2120"/>
                      <a:pt x="227729" y="15516"/>
                    </a:cubicBezTo>
                    <a:lnTo>
                      <a:pt x="257498" y="42308"/>
                    </a:lnTo>
                    <a:cubicBezTo>
                      <a:pt x="272382" y="55704"/>
                      <a:pt x="291732" y="55704"/>
                      <a:pt x="306616" y="43796"/>
                    </a:cubicBezTo>
                    <a:lnTo>
                      <a:pt x="340850" y="14028"/>
                    </a:lnTo>
                    <a:cubicBezTo>
                      <a:pt x="355734" y="632"/>
                      <a:pt x="375084" y="632"/>
                      <a:pt x="389968" y="14028"/>
                    </a:cubicBezTo>
                    <a:lnTo>
                      <a:pt x="422713" y="42308"/>
                    </a:lnTo>
                    <a:cubicBezTo>
                      <a:pt x="437598" y="55704"/>
                      <a:pt x="458436" y="55704"/>
                      <a:pt x="471832" y="40819"/>
                    </a:cubicBezTo>
                    <a:lnTo>
                      <a:pt x="503088" y="12539"/>
                    </a:lnTo>
                    <a:cubicBezTo>
                      <a:pt x="517973" y="-856"/>
                      <a:pt x="537322" y="-856"/>
                      <a:pt x="552207" y="11051"/>
                    </a:cubicBezTo>
                    <a:lnTo>
                      <a:pt x="587929" y="40819"/>
                    </a:lnTo>
                    <a:cubicBezTo>
                      <a:pt x="602813" y="52727"/>
                      <a:pt x="623651" y="52727"/>
                      <a:pt x="637047" y="37843"/>
                    </a:cubicBezTo>
                    <a:lnTo>
                      <a:pt x="663839" y="11051"/>
                    </a:lnTo>
                    <a:cubicBezTo>
                      <a:pt x="677235" y="-2345"/>
                      <a:pt x="698073" y="-3833"/>
                      <a:pt x="712957" y="8074"/>
                    </a:cubicBezTo>
                    <a:lnTo>
                      <a:pt x="778448" y="60169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7310E40A-5F90-CB1C-EF5A-B0898B534C55}"/>
                  </a:ext>
                </a:extLst>
              </p:cNvPr>
              <p:cNvSpPr/>
              <p:nvPr/>
            </p:nvSpPr>
            <p:spPr>
              <a:xfrm>
                <a:off x="1599699" y="5367539"/>
                <a:ext cx="35722" cy="14884"/>
              </a:xfrm>
              <a:custGeom>
                <a:avLst/>
                <a:gdLst>
                  <a:gd name="connsiteX0" fmla="*/ 0 w 35722"/>
                  <a:gd name="connsiteY0" fmla="*/ 0 h 14884"/>
                  <a:gd name="connsiteX1" fmla="*/ 35722 w 35722"/>
                  <a:gd name="connsiteY1" fmla="*/ 0 h 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22" h="14884">
                    <a:moveTo>
                      <a:pt x="0" y="0"/>
                    </a:moveTo>
                    <a:lnTo>
                      <a:pt x="35722" y="0"/>
                    </a:lnTo>
                  </a:path>
                </a:pathLst>
              </a:custGeom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94" name="Graphic 776">
              <a:extLst>
                <a:ext uri="{FF2B5EF4-FFF2-40B4-BE49-F238E27FC236}">
                  <a16:creationId xmlns:a16="http://schemas.microsoft.com/office/drawing/2014/main" id="{59563882-AAD3-FFAA-E317-8F5B47EEE2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85267" y="4384684"/>
              <a:ext cx="1092318" cy="1086146"/>
              <a:chOff x="1300163" y="2459473"/>
              <a:chExt cx="838101" cy="833365"/>
            </a:xfrm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9486AF83-10A4-B49A-6D74-5BCF74987417}"/>
                  </a:ext>
                </a:extLst>
              </p:cNvPr>
              <p:cNvSpPr/>
              <p:nvPr/>
            </p:nvSpPr>
            <p:spPr>
              <a:xfrm>
                <a:off x="1987043" y="2919261"/>
                <a:ext cx="49378" cy="67052"/>
              </a:xfrm>
              <a:custGeom>
                <a:avLst/>
                <a:gdLst>
                  <a:gd name="connsiteX0" fmla="*/ 49328 w 49378"/>
                  <a:gd name="connsiteY0" fmla="*/ 5474 h 67052"/>
                  <a:gd name="connsiteX1" fmla="*/ 23328 w 49378"/>
                  <a:gd name="connsiteY1" fmla="*/ 67052 h 67052"/>
                  <a:gd name="connsiteX2" fmla="*/ 65 w 49378"/>
                  <a:gd name="connsiteY2" fmla="*/ 0 h 6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8" h="67052">
                    <a:moveTo>
                      <a:pt x="49328" y="5474"/>
                    </a:moveTo>
                    <a:cubicBezTo>
                      <a:pt x="50697" y="41053"/>
                      <a:pt x="23328" y="67052"/>
                      <a:pt x="23328" y="67052"/>
                    </a:cubicBezTo>
                    <a:cubicBezTo>
                      <a:pt x="19223" y="64316"/>
                      <a:pt x="-1303" y="35579"/>
                      <a:pt x="65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36B38704-59E3-FEEE-377B-9A3952166B10}"/>
                  </a:ext>
                </a:extLst>
              </p:cNvPr>
              <p:cNvSpPr/>
              <p:nvPr/>
            </p:nvSpPr>
            <p:spPr>
              <a:xfrm>
                <a:off x="1985740" y="2764630"/>
                <a:ext cx="60210" cy="69789"/>
              </a:xfrm>
              <a:custGeom>
                <a:avLst/>
                <a:gdLst>
                  <a:gd name="connsiteX0" fmla="*/ 60210 w 60210"/>
                  <a:gd name="connsiteY0" fmla="*/ 69789 h 69789"/>
                  <a:gd name="connsiteX1" fmla="*/ 60210 w 60210"/>
                  <a:gd name="connsiteY1" fmla="*/ 17789 h 69789"/>
                  <a:gd name="connsiteX2" fmla="*/ 43789 w 60210"/>
                  <a:gd name="connsiteY2" fmla="*/ 0 h 69789"/>
                  <a:gd name="connsiteX3" fmla="*/ 16421 w 60210"/>
                  <a:gd name="connsiteY3" fmla="*/ 0 h 69789"/>
                  <a:gd name="connsiteX4" fmla="*/ 0 w 60210"/>
                  <a:gd name="connsiteY4" fmla="*/ 17789 h 69789"/>
                  <a:gd name="connsiteX5" fmla="*/ 0 w 60210"/>
                  <a:gd name="connsiteY5" fmla="*/ 47895 h 6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210" h="69789">
                    <a:moveTo>
                      <a:pt x="60210" y="69789"/>
                    </a:moveTo>
                    <a:lnTo>
                      <a:pt x="60210" y="17789"/>
                    </a:lnTo>
                    <a:cubicBezTo>
                      <a:pt x="60210" y="8211"/>
                      <a:pt x="52000" y="0"/>
                      <a:pt x="43789" y="0"/>
                    </a:cubicBezTo>
                    <a:lnTo>
                      <a:pt x="16421" y="0"/>
                    </a:lnTo>
                    <a:cubicBezTo>
                      <a:pt x="6842" y="0"/>
                      <a:pt x="0" y="8211"/>
                      <a:pt x="0" y="17789"/>
                    </a:cubicBezTo>
                    <a:lnTo>
                      <a:pt x="0" y="47895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9BC3AF0B-3A98-D426-C4BE-76CFFF71B1AA}"/>
                  </a:ext>
                </a:extLst>
              </p:cNvPr>
              <p:cNvSpPr/>
              <p:nvPr/>
            </p:nvSpPr>
            <p:spPr>
              <a:xfrm>
                <a:off x="1417797" y="2919261"/>
                <a:ext cx="49378" cy="67052"/>
              </a:xfrm>
              <a:custGeom>
                <a:avLst/>
                <a:gdLst>
                  <a:gd name="connsiteX0" fmla="*/ 50 w 49378"/>
                  <a:gd name="connsiteY0" fmla="*/ 5474 h 67052"/>
                  <a:gd name="connsiteX1" fmla="*/ 26050 w 49378"/>
                  <a:gd name="connsiteY1" fmla="*/ 67052 h 67052"/>
                  <a:gd name="connsiteX2" fmla="*/ 49313 w 49378"/>
                  <a:gd name="connsiteY2" fmla="*/ 0 h 6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8" h="67052">
                    <a:moveTo>
                      <a:pt x="50" y="5474"/>
                    </a:moveTo>
                    <a:cubicBezTo>
                      <a:pt x="-1319" y="41053"/>
                      <a:pt x="26050" y="67052"/>
                      <a:pt x="26050" y="67052"/>
                    </a:cubicBezTo>
                    <a:cubicBezTo>
                      <a:pt x="30155" y="64316"/>
                      <a:pt x="50681" y="35579"/>
                      <a:pt x="49313" y="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6158E2AD-D955-1396-F761-C5864152B5A8}"/>
                  </a:ext>
                </a:extLst>
              </p:cNvPr>
              <p:cNvSpPr/>
              <p:nvPr/>
            </p:nvSpPr>
            <p:spPr>
              <a:xfrm>
                <a:off x="1408268" y="2764630"/>
                <a:ext cx="60210" cy="69789"/>
              </a:xfrm>
              <a:custGeom>
                <a:avLst/>
                <a:gdLst>
                  <a:gd name="connsiteX0" fmla="*/ 0 w 60210"/>
                  <a:gd name="connsiteY0" fmla="*/ 69789 h 69789"/>
                  <a:gd name="connsiteX1" fmla="*/ 0 w 60210"/>
                  <a:gd name="connsiteY1" fmla="*/ 17789 h 69789"/>
                  <a:gd name="connsiteX2" fmla="*/ 16421 w 60210"/>
                  <a:gd name="connsiteY2" fmla="*/ 0 h 69789"/>
                  <a:gd name="connsiteX3" fmla="*/ 43789 w 60210"/>
                  <a:gd name="connsiteY3" fmla="*/ 0 h 69789"/>
                  <a:gd name="connsiteX4" fmla="*/ 60210 w 60210"/>
                  <a:gd name="connsiteY4" fmla="*/ 17789 h 69789"/>
                  <a:gd name="connsiteX5" fmla="*/ 60210 w 60210"/>
                  <a:gd name="connsiteY5" fmla="*/ 47895 h 6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210" h="69789">
                    <a:moveTo>
                      <a:pt x="0" y="69789"/>
                    </a:moveTo>
                    <a:lnTo>
                      <a:pt x="0" y="17789"/>
                    </a:lnTo>
                    <a:cubicBezTo>
                      <a:pt x="0" y="8211"/>
                      <a:pt x="8211" y="0"/>
                      <a:pt x="16421" y="0"/>
                    </a:cubicBezTo>
                    <a:lnTo>
                      <a:pt x="43789" y="0"/>
                    </a:lnTo>
                    <a:cubicBezTo>
                      <a:pt x="53368" y="0"/>
                      <a:pt x="60210" y="8211"/>
                      <a:pt x="60210" y="17789"/>
                    </a:cubicBezTo>
                    <a:lnTo>
                      <a:pt x="60210" y="47895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E1F165BC-EBEE-AB45-D205-2A35194D20E6}"/>
                  </a:ext>
                </a:extLst>
              </p:cNvPr>
              <p:cNvSpPr/>
              <p:nvPr/>
            </p:nvSpPr>
            <p:spPr>
              <a:xfrm>
                <a:off x="1313216" y="2750945"/>
                <a:ext cx="324945" cy="187473"/>
              </a:xfrm>
              <a:custGeom>
                <a:avLst/>
                <a:gdLst>
                  <a:gd name="connsiteX0" fmla="*/ 324945 w 324945"/>
                  <a:gd name="connsiteY0" fmla="*/ 0 h 187473"/>
                  <a:gd name="connsiteX1" fmla="*/ 30736 w 324945"/>
                  <a:gd name="connsiteY1" fmla="*/ 113579 h 187473"/>
                  <a:gd name="connsiteX2" fmla="*/ 4736 w 324945"/>
                  <a:gd name="connsiteY2" fmla="*/ 187473 h 187473"/>
                  <a:gd name="connsiteX3" fmla="*/ 227788 w 324945"/>
                  <a:gd name="connsiteY3" fmla="*/ 156000 h 187473"/>
                  <a:gd name="connsiteX4" fmla="*/ 324945 w 324945"/>
                  <a:gd name="connsiteY4" fmla="*/ 160105 h 18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945" h="187473">
                    <a:moveTo>
                      <a:pt x="324945" y="0"/>
                    </a:moveTo>
                    <a:lnTo>
                      <a:pt x="30736" y="113579"/>
                    </a:lnTo>
                    <a:cubicBezTo>
                      <a:pt x="30736" y="113579"/>
                      <a:pt x="-14422" y="135473"/>
                      <a:pt x="4736" y="187473"/>
                    </a:cubicBezTo>
                    <a:cubicBezTo>
                      <a:pt x="227788" y="156000"/>
                      <a:pt x="227788" y="156000"/>
                      <a:pt x="227788" y="156000"/>
                    </a:cubicBezTo>
                    <a:lnTo>
                      <a:pt x="324945" y="160105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E4B084CB-B724-568C-9410-C1964D618F0B}"/>
                  </a:ext>
                </a:extLst>
              </p:cNvPr>
              <p:cNvSpPr/>
              <p:nvPr/>
            </p:nvSpPr>
            <p:spPr>
              <a:xfrm>
                <a:off x="1698372" y="3083471"/>
                <a:ext cx="54802" cy="209367"/>
              </a:xfrm>
              <a:custGeom>
                <a:avLst/>
                <a:gdLst>
                  <a:gd name="connsiteX0" fmla="*/ 31474 w 54802"/>
                  <a:gd name="connsiteY0" fmla="*/ 209368 h 209367"/>
                  <a:gd name="connsiteX1" fmla="*/ 54737 w 54802"/>
                  <a:gd name="connsiteY1" fmla="*/ 58842 h 209367"/>
                  <a:gd name="connsiteX2" fmla="*/ 27368 w 54802"/>
                  <a:gd name="connsiteY2" fmla="*/ 0 h 209367"/>
                  <a:gd name="connsiteX3" fmla="*/ 0 w 54802"/>
                  <a:gd name="connsiteY3" fmla="*/ 58842 h 209367"/>
                  <a:gd name="connsiteX4" fmla="*/ 31474 w 54802"/>
                  <a:gd name="connsiteY4" fmla="*/ 209368 h 20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802" h="209367">
                    <a:moveTo>
                      <a:pt x="31474" y="209368"/>
                    </a:moveTo>
                    <a:cubicBezTo>
                      <a:pt x="35579" y="203894"/>
                      <a:pt x="56105" y="138210"/>
                      <a:pt x="54737" y="58842"/>
                    </a:cubicBezTo>
                    <a:cubicBezTo>
                      <a:pt x="53368" y="6842"/>
                      <a:pt x="27368" y="0"/>
                      <a:pt x="27368" y="0"/>
                    </a:cubicBezTo>
                    <a:cubicBezTo>
                      <a:pt x="27368" y="0"/>
                      <a:pt x="1368" y="6842"/>
                      <a:pt x="0" y="58842"/>
                    </a:cubicBezTo>
                    <a:cubicBezTo>
                      <a:pt x="0" y="138210"/>
                      <a:pt x="31474" y="209368"/>
                      <a:pt x="31474" y="209368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0659A842-CFE6-5BF8-9408-21488B87A77D}"/>
                  </a:ext>
                </a:extLst>
              </p:cNvPr>
              <p:cNvSpPr/>
              <p:nvPr/>
            </p:nvSpPr>
            <p:spPr>
              <a:xfrm>
                <a:off x="1571109" y="3105366"/>
                <a:ext cx="124526" cy="108104"/>
              </a:xfrm>
              <a:custGeom>
                <a:avLst/>
                <a:gdLst>
                  <a:gd name="connsiteX0" fmla="*/ 123158 w 124526"/>
                  <a:gd name="connsiteY0" fmla="*/ 0 h 108104"/>
                  <a:gd name="connsiteX1" fmla="*/ 0 w 124526"/>
                  <a:gd name="connsiteY1" fmla="*/ 57474 h 108104"/>
                  <a:gd name="connsiteX2" fmla="*/ 0 w 124526"/>
                  <a:gd name="connsiteY2" fmla="*/ 108105 h 108104"/>
                  <a:gd name="connsiteX3" fmla="*/ 124526 w 124526"/>
                  <a:gd name="connsiteY3" fmla="*/ 75263 h 108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526" h="108104">
                    <a:moveTo>
                      <a:pt x="123158" y="0"/>
                    </a:moveTo>
                    <a:lnTo>
                      <a:pt x="0" y="57474"/>
                    </a:lnTo>
                    <a:lnTo>
                      <a:pt x="0" y="108105"/>
                    </a:lnTo>
                    <a:lnTo>
                      <a:pt x="124526" y="75263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A8FF9C9E-8A72-B6B8-AD29-5872CAA4DB18}"/>
                  </a:ext>
                </a:extLst>
              </p:cNvPr>
              <p:cNvSpPr/>
              <p:nvPr/>
            </p:nvSpPr>
            <p:spPr>
              <a:xfrm>
                <a:off x="1300163" y="2459473"/>
                <a:ext cx="13684" cy="13684"/>
              </a:xfrm>
              <a:custGeom>
                <a:avLst/>
                <a:gdLst/>
                <a:ahLst/>
                <a:cxnLst/>
                <a:rect l="l" t="t" r="r" b="b"/>
                <a:pathLst>
                  <a:path w="13684" h="13684"/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048915EE-4B82-F164-2840-BA2216C9532E}"/>
                  </a:ext>
                </a:extLst>
              </p:cNvPr>
              <p:cNvSpPr/>
              <p:nvPr/>
            </p:nvSpPr>
            <p:spPr>
              <a:xfrm>
                <a:off x="1637867" y="2473157"/>
                <a:ext cx="172854" cy="640419"/>
              </a:xfrm>
              <a:custGeom>
                <a:avLst/>
                <a:gdLst>
                  <a:gd name="connsiteX0" fmla="*/ 130295 w 172854"/>
                  <a:gd name="connsiteY0" fmla="*/ 640420 h 640419"/>
                  <a:gd name="connsiteX1" fmla="*/ 157663 w 172854"/>
                  <a:gd name="connsiteY1" fmla="*/ 577472 h 640419"/>
                  <a:gd name="connsiteX2" fmla="*/ 171347 w 172854"/>
                  <a:gd name="connsiteY2" fmla="*/ 466630 h 640419"/>
                  <a:gd name="connsiteX3" fmla="*/ 172715 w 172854"/>
                  <a:gd name="connsiteY3" fmla="*/ 264105 h 640419"/>
                  <a:gd name="connsiteX4" fmla="*/ 109768 w 172854"/>
                  <a:gd name="connsiteY4" fmla="*/ 8211 h 640419"/>
                  <a:gd name="connsiteX5" fmla="*/ 61874 w 172854"/>
                  <a:gd name="connsiteY5" fmla="*/ 8211 h 640419"/>
                  <a:gd name="connsiteX6" fmla="*/ 295 w 172854"/>
                  <a:gd name="connsiteY6" fmla="*/ 264105 h 640419"/>
                  <a:gd name="connsiteX7" fmla="*/ 1663 w 172854"/>
                  <a:gd name="connsiteY7" fmla="*/ 466630 h 640419"/>
                  <a:gd name="connsiteX8" fmla="*/ 15347 w 172854"/>
                  <a:gd name="connsiteY8" fmla="*/ 577472 h 640419"/>
                  <a:gd name="connsiteX9" fmla="*/ 42716 w 172854"/>
                  <a:gd name="connsiteY9" fmla="*/ 640420 h 640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2854" h="640419">
                    <a:moveTo>
                      <a:pt x="130295" y="640420"/>
                    </a:moveTo>
                    <a:cubicBezTo>
                      <a:pt x="142610" y="622630"/>
                      <a:pt x="150821" y="599367"/>
                      <a:pt x="157663" y="577472"/>
                    </a:cubicBezTo>
                    <a:cubicBezTo>
                      <a:pt x="168610" y="540525"/>
                      <a:pt x="172715" y="503578"/>
                      <a:pt x="171347" y="466630"/>
                    </a:cubicBezTo>
                    <a:cubicBezTo>
                      <a:pt x="171347" y="436525"/>
                      <a:pt x="171347" y="379052"/>
                      <a:pt x="172715" y="264105"/>
                    </a:cubicBezTo>
                    <a:cubicBezTo>
                      <a:pt x="175452" y="99895"/>
                      <a:pt x="137137" y="34210"/>
                      <a:pt x="109768" y="8211"/>
                    </a:cubicBezTo>
                    <a:cubicBezTo>
                      <a:pt x="98821" y="-2737"/>
                      <a:pt x="74189" y="-2737"/>
                      <a:pt x="61874" y="8211"/>
                    </a:cubicBezTo>
                    <a:cubicBezTo>
                      <a:pt x="35874" y="34210"/>
                      <a:pt x="-3810" y="99895"/>
                      <a:pt x="295" y="264105"/>
                    </a:cubicBezTo>
                    <a:cubicBezTo>
                      <a:pt x="3032" y="379052"/>
                      <a:pt x="3032" y="437894"/>
                      <a:pt x="1663" y="466630"/>
                    </a:cubicBezTo>
                    <a:cubicBezTo>
                      <a:pt x="1663" y="503578"/>
                      <a:pt x="5769" y="540525"/>
                      <a:pt x="15347" y="577472"/>
                    </a:cubicBezTo>
                    <a:cubicBezTo>
                      <a:pt x="22190" y="599367"/>
                      <a:pt x="30400" y="622630"/>
                      <a:pt x="42716" y="64042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77559B61-54FA-3664-A558-9A1B2B68DC3C}"/>
                  </a:ext>
                </a:extLst>
              </p:cNvPr>
              <p:cNvSpPr/>
              <p:nvPr/>
            </p:nvSpPr>
            <p:spPr>
              <a:xfrm>
                <a:off x="1753109" y="3105366"/>
                <a:ext cx="121789" cy="108104"/>
              </a:xfrm>
              <a:custGeom>
                <a:avLst/>
                <a:gdLst>
                  <a:gd name="connsiteX0" fmla="*/ 0 w 121789"/>
                  <a:gd name="connsiteY0" fmla="*/ 0 h 108104"/>
                  <a:gd name="connsiteX1" fmla="*/ 121789 w 121789"/>
                  <a:gd name="connsiteY1" fmla="*/ 57474 h 108104"/>
                  <a:gd name="connsiteX2" fmla="*/ 121789 w 121789"/>
                  <a:gd name="connsiteY2" fmla="*/ 108105 h 108104"/>
                  <a:gd name="connsiteX3" fmla="*/ 5474 w 121789"/>
                  <a:gd name="connsiteY3" fmla="*/ 78000 h 108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789" h="108104">
                    <a:moveTo>
                      <a:pt x="0" y="0"/>
                    </a:moveTo>
                    <a:lnTo>
                      <a:pt x="121789" y="57474"/>
                    </a:lnTo>
                    <a:lnTo>
                      <a:pt x="121789" y="108105"/>
                    </a:lnTo>
                    <a:lnTo>
                      <a:pt x="5474" y="78000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CA840AB3-CEB2-7DDB-D4FB-C32095739053}"/>
                  </a:ext>
                </a:extLst>
              </p:cNvPr>
              <p:cNvSpPr/>
              <p:nvPr/>
            </p:nvSpPr>
            <p:spPr>
              <a:xfrm>
                <a:off x="1681951" y="2559367"/>
                <a:ext cx="82105" cy="34210"/>
              </a:xfrm>
              <a:custGeom>
                <a:avLst/>
                <a:gdLst>
                  <a:gd name="connsiteX0" fmla="*/ 82105 w 82105"/>
                  <a:gd name="connsiteY0" fmla="*/ 34210 h 34210"/>
                  <a:gd name="connsiteX1" fmla="*/ 41053 w 82105"/>
                  <a:gd name="connsiteY1" fmla="*/ 0 h 34210"/>
                  <a:gd name="connsiteX2" fmla="*/ 0 w 82105"/>
                  <a:gd name="connsiteY2" fmla="*/ 34210 h 34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105" h="34210">
                    <a:moveTo>
                      <a:pt x="82105" y="34210"/>
                    </a:moveTo>
                    <a:cubicBezTo>
                      <a:pt x="72526" y="8211"/>
                      <a:pt x="57474" y="0"/>
                      <a:pt x="41053" y="0"/>
                    </a:cubicBezTo>
                    <a:cubicBezTo>
                      <a:pt x="24632" y="0"/>
                      <a:pt x="9579" y="9579"/>
                      <a:pt x="0" y="34210"/>
                    </a:cubicBez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DDD258B6-B21F-097D-314A-F43592746107}"/>
                  </a:ext>
                </a:extLst>
              </p:cNvPr>
              <p:cNvSpPr/>
              <p:nvPr/>
            </p:nvSpPr>
            <p:spPr>
              <a:xfrm>
                <a:off x="1724372" y="2630525"/>
                <a:ext cx="13684" cy="325683"/>
              </a:xfrm>
              <a:custGeom>
                <a:avLst/>
                <a:gdLst>
                  <a:gd name="connsiteX0" fmla="*/ 0 w 13684"/>
                  <a:gd name="connsiteY0" fmla="*/ 0 h 325683"/>
                  <a:gd name="connsiteX1" fmla="*/ 0 w 13684"/>
                  <a:gd name="connsiteY1" fmla="*/ 325683 h 32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84" h="325683">
                    <a:moveTo>
                      <a:pt x="0" y="0"/>
                    </a:moveTo>
                    <a:lnTo>
                      <a:pt x="0" y="325683"/>
                    </a:lnTo>
                  </a:path>
                </a:pathLst>
              </a:custGeom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F1C0C791-E974-4799-0CBB-3234D8E94F43}"/>
                  </a:ext>
                </a:extLst>
              </p:cNvPr>
              <p:cNvSpPr/>
              <p:nvPr/>
            </p:nvSpPr>
            <p:spPr>
              <a:xfrm>
                <a:off x="1811951" y="2750945"/>
                <a:ext cx="326313" cy="187473"/>
              </a:xfrm>
              <a:custGeom>
                <a:avLst/>
                <a:gdLst>
                  <a:gd name="connsiteX0" fmla="*/ 0 w 326313"/>
                  <a:gd name="connsiteY0" fmla="*/ 0 h 187473"/>
                  <a:gd name="connsiteX1" fmla="*/ 295578 w 326313"/>
                  <a:gd name="connsiteY1" fmla="*/ 113579 h 187473"/>
                  <a:gd name="connsiteX2" fmla="*/ 321578 w 326313"/>
                  <a:gd name="connsiteY2" fmla="*/ 187473 h 187473"/>
                  <a:gd name="connsiteX3" fmla="*/ 98526 w 326313"/>
                  <a:gd name="connsiteY3" fmla="*/ 156000 h 187473"/>
                  <a:gd name="connsiteX4" fmla="*/ 0 w 326313"/>
                  <a:gd name="connsiteY4" fmla="*/ 160105 h 18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313" h="187473">
                    <a:moveTo>
                      <a:pt x="0" y="0"/>
                    </a:moveTo>
                    <a:lnTo>
                      <a:pt x="295578" y="113579"/>
                    </a:lnTo>
                    <a:cubicBezTo>
                      <a:pt x="295578" y="113579"/>
                      <a:pt x="340736" y="135473"/>
                      <a:pt x="321578" y="187473"/>
                    </a:cubicBezTo>
                    <a:cubicBezTo>
                      <a:pt x="98526" y="156000"/>
                      <a:pt x="98526" y="156000"/>
                      <a:pt x="98526" y="156000"/>
                    </a:cubicBezTo>
                    <a:lnTo>
                      <a:pt x="0" y="160105"/>
                    </a:lnTo>
                  </a:path>
                </a:pathLst>
              </a:custGeom>
              <a:no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75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0" name="Graphic 283">
            <a:extLst>
              <a:ext uri="{FF2B5EF4-FFF2-40B4-BE49-F238E27FC236}">
                <a16:creationId xmlns:a16="http://schemas.microsoft.com/office/drawing/2014/main" id="{2E0BB63F-37F8-0178-66AF-2BFB6ECF9D5F}"/>
              </a:ext>
            </a:extLst>
          </p:cNvPr>
          <p:cNvGrpSpPr>
            <a:grpSpLocks noChangeAspect="1"/>
          </p:cNvGrpSpPr>
          <p:nvPr/>
        </p:nvGrpSpPr>
        <p:grpSpPr>
          <a:xfrm>
            <a:off x="7376830" y="3362026"/>
            <a:ext cx="418455" cy="475471"/>
            <a:chOff x="7514077" y="3297277"/>
            <a:chExt cx="459675" cy="522307"/>
          </a:xfrm>
          <a:noFill/>
        </p:grpSpPr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6391D0D0-A714-572C-5C3F-874C9C5D2EE3}"/>
                </a:ext>
              </a:extLst>
            </p:cNvPr>
            <p:cNvSpPr/>
            <p:nvPr/>
          </p:nvSpPr>
          <p:spPr>
            <a:xfrm>
              <a:off x="7606348" y="3297277"/>
              <a:ext cx="272897" cy="301417"/>
            </a:xfrm>
            <a:custGeom>
              <a:avLst/>
              <a:gdLst>
                <a:gd name="connsiteX0" fmla="*/ 167205 w 272897"/>
                <a:gd name="connsiteY0" fmla="*/ 301417 h 301417"/>
                <a:gd name="connsiteX1" fmla="*/ 105692 w 272897"/>
                <a:gd name="connsiteY1" fmla="*/ 301417 h 301417"/>
                <a:gd name="connsiteX2" fmla="*/ 0 w 272897"/>
                <a:gd name="connsiteY2" fmla="*/ 195725 h 301417"/>
                <a:gd name="connsiteX3" fmla="*/ 0 w 272897"/>
                <a:gd name="connsiteY3" fmla="*/ 0 h 301417"/>
                <a:gd name="connsiteX4" fmla="*/ 272897 w 272897"/>
                <a:gd name="connsiteY4" fmla="*/ 0 h 301417"/>
                <a:gd name="connsiteX5" fmla="*/ 272897 w 272897"/>
                <a:gd name="connsiteY5" fmla="*/ 196285 h 301417"/>
                <a:gd name="connsiteX6" fmla="*/ 167205 w 272897"/>
                <a:gd name="connsiteY6" fmla="*/ 301417 h 301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2897" h="301417">
                  <a:moveTo>
                    <a:pt x="167205" y="301417"/>
                  </a:moveTo>
                  <a:lnTo>
                    <a:pt x="105692" y="301417"/>
                  </a:lnTo>
                  <a:cubicBezTo>
                    <a:pt x="47533" y="301417"/>
                    <a:pt x="0" y="253884"/>
                    <a:pt x="0" y="195725"/>
                  </a:cubicBezTo>
                  <a:lnTo>
                    <a:pt x="0" y="0"/>
                  </a:lnTo>
                  <a:lnTo>
                    <a:pt x="272897" y="0"/>
                  </a:lnTo>
                  <a:lnTo>
                    <a:pt x="272897" y="196285"/>
                  </a:lnTo>
                  <a:cubicBezTo>
                    <a:pt x="272338" y="254443"/>
                    <a:pt x="225364" y="301417"/>
                    <a:pt x="167205" y="301417"/>
                  </a:cubicBez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563CD403-4923-1D08-083C-4D0F11E68A5B}"/>
                </a:ext>
              </a:extLst>
            </p:cNvPr>
            <p:cNvSpPr/>
            <p:nvPr/>
          </p:nvSpPr>
          <p:spPr>
            <a:xfrm>
              <a:off x="7514077" y="3330830"/>
              <a:ext cx="92270" cy="158258"/>
            </a:xfrm>
            <a:custGeom>
              <a:avLst/>
              <a:gdLst>
                <a:gd name="connsiteX0" fmla="*/ 92271 w 92270"/>
                <a:gd name="connsiteY0" fmla="*/ 0 h 158258"/>
                <a:gd name="connsiteX1" fmla="*/ 0 w 92270"/>
                <a:gd name="connsiteY1" fmla="*/ 0 h 158258"/>
                <a:gd name="connsiteX2" fmla="*/ 92271 w 92270"/>
                <a:gd name="connsiteY2" fmla="*/ 158258 h 158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270" h="158258">
                  <a:moveTo>
                    <a:pt x="92271" y="0"/>
                  </a:moveTo>
                  <a:lnTo>
                    <a:pt x="0" y="0"/>
                  </a:lnTo>
                  <a:cubicBezTo>
                    <a:pt x="0" y="0"/>
                    <a:pt x="8388" y="120231"/>
                    <a:pt x="92271" y="158258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D2BA80C-C271-6007-628E-0C1ECF5CEC28}"/>
                </a:ext>
              </a:extLst>
            </p:cNvPr>
            <p:cNvSpPr/>
            <p:nvPr/>
          </p:nvSpPr>
          <p:spPr>
            <a:xfrm>
              <a:off x="7878686" y="3330830"/>
              <a:ext cx="95066" cy="158258"/>
            </a:xfrm>
            <a:custGeom>
              <a:avLst/>
              <a:gdLst>
                <a:gd name="connsiteX0" fmla="*/ 2796 w 95066"/>
                <a:gd name="connsiteY0" fmla="*/ 0 h 158258"/>
                <a:gd name="connsiteX1" fmla="*/ 95067 w 95066"/>
                <a:gd name="connsiteY1" fmla="*/ 0 h 158258"/>
                <a:gd name="connsiteX2" fmla="*/ 0 w 95066"/>
                <a:gd name="connsiteY2" fmla="*/ 158258 h 158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066" h="158258">
                  <a:moveTo>
                    <a:pt x="2796" y="0"/>
                  </a:moveTo>
                  <a:lnTo>
                    <a:pt x="95067" y="0"/>
                  </a:lnTo>
                  <a:cubicBezTo>
                    <a:pt x="95067" y="0"/>
                    <a:pt x="83882" y="120231"/>
                    <a:pt x="0" y="158258"/>
                  </a:cubicBez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031CF2E-7F07-4504-2D34-3EBD5BB54E4E}"/>
                </a:ext>
              </a:extLst>
            </p:cNvPr>
            <p:cNvSpPr/>
            <p:nvPr/>
          </p:nvSpPr>
          <p:spPr>
            <a:xfrm>
              <a:off x="7634309" y="3671952"/>
              <a:ext cx="218094" cy="96744"/>
            </a:xfrm>
            <a:custGeom>
              <a:avLst/>
              <a:gdLst>
                <a:gd name="connsiteX0" fmla="*/ 0 w 218094"/>
                <a:gd name="connsiteY0" fmla="*/ 0 h 96744"/>
                <a:gd name="connsiteX1" fmla="*/ 218094 w 218094"/>
                <a:gd name="connsiteY1" fmla="*/ 0 h 96744"/>
                <a:gd name="connsiteX2" fmla="*/ 218094 w 218094"/>
                <a:gd name="connsiteY2" fmla="*/ 96744 h 96744"/>
                <a:gd name="connsiteX3" fmla="*/ 0 w 218094"/>
                <a:gd name="connsiteY3" fmla="*/ 96744 h 96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094" h="96744">
                  <a:moveTo>
                    <a:pt x="0" y="0"/>
                  </a:moveTo>
                  <a:lnTo>
                    <a:pt x="218094" y="0"/>
                  </a:lnTo>
                  <a:lnTo>
                    <a:pt x="218094" y="96744"/>
                  </a:lnTo>
                  <a:lnTo>
                    <a:pt x="0" y="96744"/>
                  </a:ln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698A1047-7B50-E190-DF85-B2DA1E6C669F}"/>
                </a:ext>
              </a:extLst>
            </p:cNvPr>
            <p:cNvSpPr/>
            <p:nvPr/>
          </p:nvSpPr>
          <p:spPr>
            <a:xfrm>
              <a:off x="7591808" y="3768137"/>
              <a:ext cx="303094" cy="51447"/>
            </a:xfrm>
            <a:custGeom>
              <a:avLst/>
              <a:gdLst>
                <a:gd name="connsiteX0" fmla="*/ 0 w 303094"/>
                <a:gd name="connsiteY0" fmla="*/ 0 h 51447"/>
                <a:gd name="connsiteX1" fmla="*/ 303095 w 303094"/>
                <a:gd name="connsiteY1" fmla="*/ 0 h 51447"/>
                <a:gd name="connsiteX2" fmla="*/ 303095 w 303094"/>
                <a:gd name="connsiteY2" fmla="*/ 51448 h 51447"/>
                <a:gd name="connsiteX3" fmla="*/ 0 w 303094"/>
                <a:gd name="connsiteY3" fmla="*/ 51448 h 5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3094" h="51447">
                  <a:moveTo>
                    <a:pt x="0" y="0"/>
                  </a:moveTo>
                  <a:lnTo>
                    <a:pt x="303095" y="0"/>
                  </a:lnTo>
                  <a:lnTo>
                    <a:pt x="303095" y="51448"/>
                  </a:lnTo>
                  <a:lnTo>
                    <a:pt x="0" y="51448"/>
                  </a:lnTo>
                  <a:close/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8A110D6-ABF8-615A-629C-58CDAC959361}"/>
                </a:ext>
              </a:extLst>
            </p:cNvPr>
            <p:cNvSpPr/>
            <p:nvPr/>
          </p:nvSpPr>
          <p:spPr>
            <a:xfrm>
              <a:off x="7695263" y="3720044"/>
              <a:ext cx="92829" cy="5592"/>
            </a:xfrm>
            <a:custGeom>
              <a:avLst/>
              <a:gdLst>
                <a:gd name="connsiteX0" fmla="*/ 0 w 92829"/>
                <a:gd name="connsiteY0" fmla="*/ 0 h 5592"/>
                <a:gd name="connsiteX1" fmla="*/ 92830 w 92829"/>
                <a:gd name="connsiteY1" fmla="*/ 0 h 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2829" h="5592">
                  <a:moveTo>
                    <a:pt x="0" y="0"/>
                  </a:moveTo>
                  <a:lnTo>
                    <a:pt x="92830" y="0"/>
                  </a:lnTo>
                </a:path>
              </a:pathLst>
            </a:custGeom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653318-24AD-3E6C-252B-1A74C0BBB94E}"/>
                </a:ext>
              </a:extLst>
            </p:cNvPr>
            <p:cNvSpPr/>
            <p:nvPr/>
          </p:nvSpPr>
          <p:spPr>
            <a:xfrm>
              <a:off x="7700296" y="3598695"/>
              <a:ext cx="5592" cy="73257"/>
            </a:xfrm>
            <a:custGeom>
              <a:avLst/>
              <a:gdLst>
                <a:gd name="connsiteX0" fmla="*/ 0 w 5592"/>
                <a:gd name="connsiteY0" fmla="*/ 0 h 73257"/>
                <a:gd name="connsiteX1" fmla="*/ 0 w 5592"/>
                <a:gd name="connsiteY1" fmla="*/ 73257 h 73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2" h="73257">
                  <a:moveTo>
                    <a:pt x="0" y="0"/>
                  </a:moveTo>
                  <a:lnTo>
                    <a:pt x="0" y="73257"/>
                  </a:lnTo>
                </a:path>
              </a:pathLst>
            </a:custGeom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0A302E1C-A837-8643-55C2-64CBBF25700F}"/>
                </a:ext>
              </a:extLst>
            </p:cNvPr>
            <p:cNvSpPr/>
            <p:nvPr/>
          </p:nvSpPr>
          <p:spPr>
            <a:xfrm>
              <a:off x="7777468" y="3598695"/>
              <a:ext cx="5592" cy="73257"/>
            </a:xfrm>
            <a:custGeom>
              <a:avLst/>
              <a:gdLst>
                <a:gd name="connsiteX0" fmla="*/ 0 w 5592"/>
                <a:gd name="connsiteY0" fmla="*/ 0 h 73257"/>
                <a:gd name="connsiteX1" fmla="*/ 0 w 5592"/>
                <a:gd name="connsiteY1" fmla="*/ 73257 h 73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92" h="73257">
                  <a:moveTo>
                    <a:pt x="0" y="0"/>
                  </a:moveTo>
                  <a:lnTo>
                    <a:pt x="0" y="73257"/>
                  </a:lnTo>
                </a:path>
              </a:pathLst>
            </a:custGeom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EBBA9884-E574-62B1-121B-489DD89617FE}"/>
                </a:ext>
              </a:extLst>
            </p:cNvPr>
            <p:cNvSpPr/>
            <p:nvPr/>
          </p:nvSpPr>
          <p:spPr>
            <a:xfrm>
              <a:off x="7665066" y="3372212"/>
              <a:ext cx="163850" cy="118553"/>
            </a:xfrm>
            <a:custGeom>
              <a:avLst/>
              <a:gdLst>
                <a:gd name="connsiteX0" fmla="*/ 0 w 163850"/>
                <a:gd name="connsiteY0" fmla="*/ 64869 h 118553"/>
                <a:gd name="connsiteX1" fmla="*/ 62073 w 163850"/>
                <a:gd name="connsiteY1" fmla="*/ 118554 h 118553"/>
                <a:gd name="connsiteX2" fmla="*/ 163850 w 163850"/>
                <a:gd name="connsiteY2" fmla="*/ 0 h 118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3850" h="118553">
                  <a:moveTo>
                    <a:pt x="0" y="64869"/>
                  </a:moveTo>
                  <a:lnTo>
                    <a:pt x="62073" y="118554"/>
                  </a:lnTo>
                  <a:lnTo>
                    <a:pt x="163850" y="0"/>
                  </a:lnTo>
                </a:path>
              </a:pathLst>
            </a:custGeom>
            <a:noFill/>
            <a:ln w="28575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176038"/>
      </p:ext>
    </p:extLst>
  </p:cSld>
  <p:clrMapOvr>
    <a:masterClrMapping/>
  </p:clrMapOvr>
  <p:transition spd="slow">
    <p:push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raphic 70">
            <a:extLst>
              <a:ext uri="{FF2B5EF4-FFF2-40B4-BE49-F238E27FC236}">
                <a16:creationId xmlns:a16="http://schemas.microsoft.com/office/drawing/2014/main" id="{0F7D27DA-0126-4D5F-A8F6-DC7C19A62A84}"/>
              </a:ext>
            </a:extLst>
          </p:cNvPr>
          <p:cNvSpPr>
            <a:spLocks/>
          </p:cNvSpPr>
          <p:nvPr/>
        </p:nvSpPr>
        <p:spPr>
          <a:xfrm>
            <a:off x="-61577" y="664289"/>
            <a:ext cx="12396964" cy="5804284"/>
          </a:xfrm>
          <a:custGeom>
            <a:avLst/>
            <a:gdLst>
              <a:gd name="connsiteX0" fmla="*/ 11562845 w 11562845"/>
              <a:gd name="connsiteY0" fmla="*/ 0 h 6210433"/>
              <a:gd name="connsiteX1" fmla="*/ 11562845 w 11562845"/>
              <a:gd name="connsiteY1" fmla="*/ 6210433 h 6210433"/>
              <a:gd name="connsiteX2" fmla="*/ 0 w 11562845"/>
              <a:gd name="connsiteY2" fmla="*/ 6210433 h 6210433"/>
              <a:gd name="connsiteX3" fmla="*/ 0 w 11562845"/>
              <a:gd name="connsiteY3" fmla="*/ 4645057 h 6210433"/>
              <a:gd name="connsiteX4" fmla="*/ 1307460 w 11562845"/>
              <a:gd name="connsiteY4" fmla="*/ 4491839 h 6210433"/>
              <a:gd name="connsiteX5" fmla="*/ 2849853 w 11562845"/>
              <a:gd name="connsiteY5" fmla="*/ 4166251 h 6210433"/>
              <a:gd name="connsiteX6" fmla="*/ 4490562 w 11562845"/>
              <a:gd name="connsiteY6" fmla="*/ 3761500 h 6210433"/>
              <a:gd name="connsiteX7" fmla="*/ 6151700 w 11562845"/>
              <a:gd name="connsiteY7" fmla="*/ 3613390 h 6210433"/>
              <a:gd name="connsiteX8" fmla="*/ 7802623 w 11562845"/>
              <a:gd name="connsiteY8" fmla="*/ 3010732 h 6210433"/>
              <a:gd name="connsiteX9" fmla="*/ 9413964 w 11562845"/>
              <a:gd name="connsiteY9" fmla="*/ 1804141 h 6210433"/>
              <a:gd name="connsiteX10" fmla="*/ 11557739 w 11562845"/>
              <a:gd name="connsiteY10" fmla="*/ 0 h 6210433"/>
              <a:gd name="connsiteX11" fmla="*/ 11562845 w 11562845"/>
              <a:gd name="connsiteY11" fmla="*/ 0 h 6210433"/>
              <a:gd name="connsiteX0" fmla="*/ 11562845 w 11562845"/>
              <a:gd name="connsiteY0" fmla="*/ 0 h 6210433"/>
              <a:gd name="connsiteX1" fmla="*/ 11562845 w 11562845"/>
              <a:gd name="connsiteY1" fmla="*/ 6210433 h 6210433"/>
              <a:gd name="connsiteX2" fmla="*/ 0 w 11562845"/>
              <a:gd name="connsiteY2" fmla="*/ 6210433 h 6210433"/>
              <a:gd name="connsiteX3" fmla="*/ 0 w 11562845"/>
              <a:gd name="connsiteY3" fmla="*/ 4645057 h 6210433"/>
              <a:gd name="connsiteX4" fmla="*/ 1307460 w 11562845"/>
              <a:gd name="connsiteY4" fmla="*/ 4491839 h 6210433"/>
              <a:gd name="connsiteX5" fmla="*/ 2849853 w 11562845"/>
              <a:gd name="connsiteY5" fmla="*/ 4166251 h 6210433"/>
              <a:gd name="connsiteX6" fmla="*/ 4490562 w 11562845"/>
              <a:gd name="connsiteY6" fmla="*/ 3761500 h 6210433"/>
              <a:gd name="connsiteX7" fmla="*/ 6151700 w 11562845"/>
              <a:gd name="connsiteY7" fmla="*/ 3613390 h 6210433"/>
              <a:gd name="connsiteX8" fmla="*/ 7802623 w 11562845"/>
              <a:gd name="connsiteY8" fmla="*/ 3010732 h 6210433"/>
              <a:gd name="connsiteX9" fmla="*/ 9413964 w 11562845"/>
              <a:gd name="connsiteY9" fmla="*/ 1804141 h 6210433"/>
              <a:gd name="connsiteX10" fmla="*/ 11557739 w 11562845"/>
              <a:gd name="connsiteY10" fmla="*/ 0 h 6210433"/>
              <a:gd name="connsiteX11" fmla="*/ 11562845 w 11562845"/>
              <a:gd name="connsiteY11" fmla="*/ 0 h 6210433"/>
              <a:gd name="connsiteX0" fmla="*/ 11669182 w 11669182"/>
              <a:gd name="connsiteY0" fmla="*/ 0 h 6210433"/>
              <a:gd name="connsiteX1" fmla="*/ 11669182 w 11669182"/>
              <a:gd name="connsiteY1" fmla="*/ 6210433 h 6210433"/>
              <a:gd name="connsiteX2" fmla="*/ 106337 w 11669182"/>
              <a:gd name="connsiteY2" fmla="*/ 6210433 h 6210433"/>
              <a:gd name="connsiteX3" fmla="*/ 106337 w 11669182"/>
              <a:gd name="connsiteY3" fmla="*/ 4645057 h 6210433"/>
              <a:gd name="connsiteX4" fmla="*/ 94233 w 11669182"/>
              <a:gd name="connsiteY4" fmla="*/ 4639778 h 6210433"/>
              <a:gd name="connsiteX5" fmla="*/ 1413797 w 11669182"/>
              <a:gd name="connsiteY5" fmla="*/ 4491839 h 6210433"/>
              <a:gd name="connsiteX6" fmla="*/ 2956190 w 11669182"/>
              <a:gd name="connsiteY6" fmla="*/ 4166251 h 6210433"/>
              <a:gd name="connsiteX7" fmla="*/ 4596899 w 11669182"/>
              <a:gd name="connsiteY7" fmla="*/ 3761500 h 6210433"/>
              <a:gd name="connsiteX8" fmla="*/ 6258037 w 11669182"/>
              <a:gd name="connsiteY8" fmla="*/ 3613390 h 6210433"/>
              <a:gd name="connsiteX9" fmla="*/ 7908960 w 11669182"/>
              <a:gd name="connsiteY9" fmla="*/ 3010732 h 6210433"/>
              <a:gd name="connsiteX10" fmla="*/ 9520301 w 11669182"/>
              <a:gd name="connsiteY10" fmla="*/ 1804141 h 6210433"/>
              <a:gd name="connsiteX11" fmla="*/ 11664076 w 11669182"/>
              <a:gd name="connsiteY11" fmla="*/ 0 h 6210433"/>
              <a:gd name="connsiteX12" fmla="*/ 11669182 w 11669182"/>
              <a:gd name="connsiteY12" fmla="*/ 0 h 6210433"/>
              <a:gd name="connsiteX0" fmla="*/ 12038884 w 12038884"/>
              <a:gd name="connsiteY0" fmla="*/ 0 h 6210433"/>
              <a:gd name="connsiteX1" fmla="*/ 12038884 w 12038884"/>
              <a:gd name="connsiteY1" fmla="*/ 6210433 h 6210433"/>
              <a:gd name="connsiteX2" fmla="*/ 476039 w 12038884"/>
              <a:gd name="connsiteY2" fmla="*/ 6210433 h 6210433"/>
              <a:gd name="connsiteX3" fmla="*/ 476039 w 12038884"/>
              <a:gd name="connsiteY3" fmla="*/ 4645057 h 6210433"/>
              <a:gd name="connsiteX4" fmla="*/ 44835 w 12038884"/>
              <a:gd name="connsiteY4" fmla="*/ 4723598 h 6210433"/>
              <a:gd name="connsiteX5" fmla="*/ 1783499 w 12038884"/>
              <a:gd name="connsiteY5" fmla="*/ 4491839 h 6210433"/>
              <a:gd name="connsiteX6" fmla="*/ 3325892 w 12038884"/>
              <a:gd name="connsiteY6" fmla="*/ 4166251 h 6210433"/>
              <a:gd name="connsiteX7" fmla="*/ 4966601 w 12038884"/>
              <a:gd name="connsiteY7" fmla="*/ 3761500 h 6210433"/>
              <a:gd name="connsiteX8" fmla="*/ 6627739 w 12038884"/>
              <a:gd name="connsiteY8" fmla="*/ 3613390 h 6210433"/>
              <a:gd name="connsiteX9" fmla="*/ 8278662 w 12038884"/>
              <a:gd name="connsiteY9" fmla="*/ 3010732 h 6210433"/>
              <a:gd name="connsiteX10" fmla="*/ 9890003 w 12038884"/>
              <a:gd name="connsiteY10" fmla="*/ 1804141 h 6210433"/>
              <a:gd name="connsiteX11" fmla="*/ 12033778 w 12038884"/>
              <a:gd name="connsiteY11" fmla="*/ 0 h 6210433"/>
              <a:gd name="connsiteX12" fmla="*/ 12038884 w 12038884"/>
              <a:gd name="connsiteY12" fmla="*/ 0 h 6210433"/>
              <a:gd name="connsiteX0" fmla="*/ 12526784 w 12526784"/>
              <a:gd name="connsiteY0" fmla="*/ 0 h 6210433"/>
              <a:gd name="connsiteX1" fmla="*/ 12526784 w 12526784"/>
              <a:gd name="connsiteY1" fmla="*/ 6210433 h 6210433"/>
              <a:gd name="connsiteX2" fmla="*/ 963939 w 12526784"/>
              <a:gd name="connsiteY2" fmla="*/ 6210433 h 6210433"/>
              <a:gd name="connsiteX3" fmla="*/ 9 w 12526784"/>
              <a:gd name="connsiteY3" fmla="*/ 4789837 h 6210433"/>
              <a:gd name="connsiteX4" fmla="*/ 532735 w 12526784"/>
              <a:gd name="connsiteY4" fmla="*/ 4723598 h 6210433"/>
              <a:gd name="connsiteX5" fmla="*/ 2271399 w 12526784"/>
              <a:gd name="connsiteY5" fmla="*/ 4491839 h 6210433"/>
              <a:gd name="connsiteX6" fmla="*/ 3813792 w 12526784"/>
              <a:gd name="connsiteY6" fmla="*/ 4166251 h 6210433"/>
              <a:gd name="connsiteX7" fmla="*/ 5454501 w 12526784"/>
              <a:gd name="connsiteY7" fmla="*/ 3761500 h 6210433"/>
              <a:gd name="connsiteX8" fmla="*/ 7115639 w 12526784"/>
              <a:gd name="connsiteY8" fmla="*/ 3613390 h 6210433"/>
              <a:gd name="connsiteX9" fmla="*/ 8766562 w 12526784"/>
              <a:gd name="connsiteY9" fmla="*/ 3010732 h 6210433"/>
              <a:gd name="connsiteX10" fmla="*/ 10377903 w 12526784"/>
              <a:gd name="connsiteY10" fmla="*/ 1804141 h 6210433"/>
              <a:gd name="connsiteX11" fmla="*/ 12521678 w 12526784"/>
              <a:gd name="connsiteY11" fmla="*/ 0 h 6210433"/>
              <a:gd name="connsiteX12" fmla="*/ 12526784 w 12526784"/>
              <a:gd name="connsiteY12" fmla="*/ 0 h 6210433"/>
              <a:gd name="connsiteX0" fmla="*/ 12526775 w 12526775"/>
              <a:gd name="connsiteY0" fmla="*/ 0 h 6210433"/>
              <a:gd name="connsiteX1" fmla="*/ 12526775 w 12526775"/>
              <a:gd name="connsiteY1" fmla="*/ 6210433 h 6210433"/>
              <a:gd name="connsiteX2" fmla="*/ 963930 w 12526775"/>
              <a:gd name="connsiteY2" fmla="*/ 6210433 h 6210433"/>
              <a:gd name="connsiteX3" fmla="*/ 0 w 12526775"/>
              <a:gd name="connsiteY3" fmla="*/ 4789837 h 6210433"/>
              <a:gd name="connsiteX4" fmla="*/ 532726 w 12526775"/>
              <a:gd name="connsiteY4" fmla="*/ 4723598 h 6210433"/>
              <a:gd name="connsiteX5" fmla="*/ 2271390 w 12526775"/>
              <a:gd name="connsiteY5" fmla="*/ 4491839 h 6210433"/>
              <a:gd name="connsiteX6" fmla="*/ 3813783 w 12526775"/>
              <a:gd name="connsiteY6" fmla="*/ 4166251 h 6210433"/>
              <a:gd name="connsiteX7" fmla="*/ 5454492 w 12526775"/>
              <a:gd name="connsiteY7" fmla="*/ 3761500 h 6210433"/>
              <a:gd name="connsiteX8" fmla="*/ 7115630 w 12526775"/>
              <a:gd name="connsiteY8" fmla="*/ 3613390 h 6210433"/>
              <a:gd name="connsiteX9" fmla="*/ 8766553 w 12526775"/>
              <a:gd name="connsiteY9" fmla="*/ 3010732 h 6210433"/>
              <a:gd name="connsiteX10" fmla="*/ 10377894 w 12526775"/>
              <a:gd name="connsiteY10" fmla="*/ 1804141 h 6210433"/>
              <a:gd name="connsiteX11" fmla="*/ 12521669 w 12526775"/>
              <a:gd name="connsiteY11" fmla="*/ 0 h 6210433"/>
              <a:gd name="connsiteX12" fmla="*/ 12526775 w 12526775"/>
              <a:gd name="connsiteY12" fmla="*/ 0 h 6210433"/>
              <a:gd name="connsiteX0" fmla="*/ 12526775 w 12526775"/>
              <a:gd name="connsiteY0" fmla="*/ 0 h 6210433"/>
              <a:gd name="connsiteX1" fmla="*/ 12526775 w 12526775"/>
              <a:gd name="connsiteY1" fmla="*/ 6210433 h 6210433"/>
              <a:gd name="connsiteX2" fmla="*/ 963930 w 12526775"/>
              <a:gd name="connsiteY2" fmla="*/ 6210433 h 6210433"/>
              <a:gd name="connsiteX3" fmla="*/ 0 w 12526775"/>
              <a:gd name="connsiteY3" fmla="*/ 4789837 h 6210433"/>
              <a:gd name="connsiteX4" fmla="*/ 536536 w 12526775"/>
              <a:gd name="connsiteY4" fmla="*/ 4719788 h 6210433"/>
              <a:gd name="connsiteX5" fmla="*/ 2271390 w 12526775"/>
              <a:gd name="connsiteY5" fmla="*/ 4491839 h 6210433"/>
              <a:gd name="connsiteX6" fmla="*/ 3813783 w 12526775"/>
              <a:gd name="connsiteY6" fmla="*/ 4166251 h 6210433"/>
              <a:gd name="connsiteX7" fmla="*/ 5454492 w 12526775"/>
              <a:gd name="connsiteY7" fmla="*/ 3761500 h 6210433"/>
              <a:gd name="connsiteX8" fmla="*/ 7115630 w 12526775"/>
              <a:gd name="connsiteY8" fmla="*/ 3613390 h 6210433"/>
              <a:gd name="connsiteX9" fmla="*/ 8766553 w 12526775"/>
              <a:gd name="connsiteY9" fmla="*/ 3010732 h 6210433"/>
              <a:gd name="connsiteX10" fmla="*/ 10377894 w 12526775"/>
              <a:gd name="connsiteY10" fmla="*/ 1804141 h 6210433"/>
              <a:gd name="connsiteX11" fmla="*/ 12521669 w 12526775"/>
              <a:gd name="connsiteY11" fmla="*/ 0 h 6210433"/>
              <a:gd name="connsiteX12" fmla="*/ 12526775 w 12526775"/>
              <a:gd name="connsiteY12" fmla="*/ 0 h 6210433"/>
              <a:gd name="connsiteX0" fmla="*/ 12526775 w 12526775"/>
              <a:gd name="connsiteY0" fmla="*/ 0 h 6210433"/>
              <a:gd name="connsiteX1" fmla="*/ 12526775 w 12526775"/>
              <a:gd name="connsiteY1" fmla="*/ 6210433 h 6210433"/>
              <a:gd name="connsiteX2" fmla="*/ 963930 w 12526775"/>
              <a:gd name="connsiteY2" fmla="*/ 6210433 h 6210433"/>
              <a:gd name="connsiteX3" fmla="*/ 0 w 12526775"/>
              <a:gd name="connsiteY3" fmla="*/ 4789837 h 6210433"/>
              <a:gd name="connsiteX4" fmla="*/ 536536 w 12526775"/>
              <a:gd name="connsiteY4" fmla="*/ 4719788 h 6210433"/>
              <a:gd name="connsiteX5" fmla="*/ 2290440 w 12526775"/>
              <a:gd name="connsiteY5" fmla="*/ 4503269 h 6210433"/>
              <a:gd name="connsiteX6" fmla="*/ 3813783 w 12526775"/>
              <a:gd name="connsiteY6" fmla="*/ 4166251 h 6210433"/>
              <a:gd name="connsiteX7" fmla="*/ 5454492 w 12526775"/>
              <a:gd name="connsiteY7" fmla="*/ 3761500 h 6210433"/>
              <a:gd name="connsiteX8" fmla="*/ 7115630 w 12526775"/>
              <a:gd name="connsiteY8" fmla="*/ 3613390 h 6210433"/>
              <a:gd name="connsiteX9" fmla="*/ 8766553 w 12526775"/>
              <a:gd name="connsiteY9" fmla="*/ 3010732 h 6210433"/>
              <a:gd name="connsiteX10" fmla="*/ 10377894 w 12526775"/>
              <a:gd name="connsiteY10" fmla="*/ 1804141 h 6210433"/>
              <a:gd name="connsiteX11" fmla="*/ 12521669 w 12526775"/>
              <a:gd name="connsiteY11" fmla="*/ 0 h 6210433"/>
              <a:gd name="connsiteX12" fmla="*/ 12526775 w 12526775"/>
              <a:gd name="connsiteY12" fmla="*/ 0 h 6210433"/>
              <a:gd name="connsiteX0" fmla="*/ 12526775 w 12526775"/>
              <a:gd name="connsiteY0" fmla="*/ 0 h 6210433"/>
              <a:gd name="connsiteX1" fmla="*/ 12526775 w 12526775"/>
              <a:gd name="connsiteY1" fmla="*/ 6210433 h 6210433"/>
              <a:gd name="connsiteX2" fmla="*/ 963930 w 12526775"/>
              <a:gd name="connsiteY2" fmla="*/ 6210433 h 6210433"/>
              <a:gd name="connsiteX3" fmla="*/ 0 w 12526775"/>
              <a:gd name="connsiteY3" fmla="*/ 4789837 h 6210433"/>
              <a:gd name="connsiteX4" fmla="*/ 536536 w 12526775"/>
              <a:gd name="connsiteY4" fmla="*/ 4719788 h 6210433"/>
              <a:gd name="connsiteX5" fmla="*/ 2290440 w 12526775"/>
              <a:gd name="connsiteY5" fmla="*/ 4503269 h 6210433"/>
              <a:gd name="connsiteX6" fmla="*/ 3840453 w 12526775"/>
              <a:gd name="connsiteY6" fmla="*/ 4177681 h 6210433"/>
              <a:gd name="connsiteX7" fmla="*/ 5454492 w 12526775"/>
              <a:gd name="connsiteY7" fmla="*/ 3761500 h 6210433"/>
              <a:gd name="connsiteX8" fmla="*/ 7115630 w 12526775"/>
              <a:gd name="connsiteY8" fmla="*/ 3613390 h 6210433"/>
              <a:gd name="connsiteX9" fmla="*/ 8766553 w 12526775"/>
              <a:gd name="connsiteY9" fmla="*/ 3010732 h 6210433"/>
              <a:gd name="connsiteX10" fmla="*/ 10377894 w 12526775"/>
              <a:gd name="connsiteY10" fmla="*/ 1804141 h 6210433"/>
              <a:gd name="connsiteX11" fmla="*/ 12521669 w 12526775"/>
              <a:gd name="connsiteY11" fmla="*/ 0 h 6210433"/>
              <a:gd name="connsiteX12" fmla="*/ 12526775 w 12526775"/>
              <a:gd name="connsiteY12" fmla="*/ 0 h 6210433"/>
              <a:gd name="connsiteX0" fmla="*/ 12633455 w 12633455"/>
              <a:gd name="connsiteY0" fmla="*/ 0 h 6210433"/>
              <a:gd name="connsiteX1" fmla="*/ 12633455 w 12633455"/>
              <a:gd name="connsiteY1" fmla="*/ 6210433 h 6210433"/>
              <a:gd name="connsiteX2" fmla="*/ 0 w 12633455"/>
              <a:gd name="connsiteY2" fmla="*/ 6206623 h 6210433"/>
              <a:gd name="connsiteX3" fmla="*/ 106680 w 12633455"/>
              <a:gd name="connsiteY3" fmla="*/ 4789837 h 6210433"/>
              <a:gd name="connsiteX4" fmla="*/ 643216 w 12633455"/>
              <a:gd name="connsiteY4" fmla="*/ 4719788 h 6210433"/>
              <a:gd name="connsiteX5" fmla="*/ 2397120 w 12633455"/>
              <a:gd name="connsiteY5" fmla="*/ 4503269 h 6210433"/>
              <a:gd name="connsiteX6" fmla="*/ 3947133 w 12633455"/>
              <a:gd name="connsiteY6" fmla="*/ 4177681 h 6210433"/>
              <a:gd name="connsiteX7" fmla="*/ 5561172 w 12633455"/>
              <a:gd name="connsiteY7" fmla="*/ 3761500 h 6210433"/>
              <a:gd name="connsiteX8" fmla="*/ 7222310 w 12633455"/>
              <a:gd name="connsiteY8" fmla="*/ 3613390 h 6210433"/>
              <a:gd name="connsiteX9" fmla="*/ 8873233 w 12633455"/>
              <a:gd name="connsiteY9" fmla="*/ 3010732 h 6210433"/>
              <a:gd name="connsiteX10" fmla="*/ 10484574 w 12633455"/>
              <a:gd name="connsiteY10" fmla="*/ 1804141 h 6210433"/>
              <a:gd name="connsiteX11" fmla="*/ 12628349 w 12633455"/>
              <a:gd name="connsiteY11" fmla="*/ 0 h 6210433"/>
              <a:gd name="connsiteX12" fmla="*/ 12633455 w 12633455"/>
              <a:gd name="connsiteY12" fmla="*/ 0 h 6210433"/>
              <a:gd name="connsiteX0" fmla="*/ 12538205 w 12538205"/>
              <a:gd name="connsiteY0" fmla="*/ 0 h 6210433"/>
              <a:gd name="connsiteX1" fmla="*/ 12538205 w 12538205"/>
              <a:gd name="connsiteY1" fmla="*/ 6210433 h 6210433"/>
              <a:gd name="connsiteX2" fmla="*/ 0 w 12538205"/>
              <a:gd name="connsiteY2" fmla="*/ 6179953 h 6210433"/>
              <a:gd name="connsiteX3" fmla="*/ 11430 w 12538205"/>
              <a:gd name="connsiteY3" fmla="*/ 4789837 h 6210433"/>
              <a:gd name="connsiteX4" fmla="*/ 547966 w 12538205"/>
              <a:gd name="connsiteY4" fmla="*/ 4719788 h 6210433"/>
              <a:gd name="connsiteX5" fmla="*/ 2301870 w 12538205"/>
              <a:gd name="connsiteY5" fmla="*/ 4503269 h 6210433"/>
              <a:gd name="connsiteX6" fmla="*/ 3851883 w 12538205"/>
              <a:gd name="connsiteY6" fmla="*/ 4177681 h 6210433"/>
              <a:gd name="connsiteX7" fmla="*/ 5465922 w 12538205"/>
              <a:gd name="connsiteY7" fmla="*/ 3761500 h 6210433"/>
              <a:gd name="connsiteX8" fmla="*/ 7127060 w 12538205"/>
              <a:gd name="connsiteY8" fmla="*/ 3613390 h 6210433"/>
              <a:gd name="connsiteX9" fmla="*/ 8777983 w 12538205"/>
              <a:gd name="connsiteY9" fmla="*/ 3010732 h 6210433"/>
              <a:gd name="connsiteX10" fmla="*/ 10389324 w 12538205"/>
              <a:gd name="connsiteY10" fmla="*/ 1804141 h 6210433"/>
              <a:gd name="connsiteX11" fmla="*/ 12533099 w 12538205"/>
              <a:gd name="connsiteY11" fmla="*/ 0 h 6210433"/>
              <a:gd name="connsiteX12" fmla="*/ 12538205 w 12538205"/>
              <a:gd name="connsiteY12" fmla="*/ 0 h 6210433"/>
              <a:gd name="connsiteX0" fmla="*/ 12538205 w 12538205"/>
              <a:gd name="connsiteY0" fmla="*/ 0 h 6225673"/>
              <a:gd name="connsiteX1" fmla="*/ 12538205 w 12538205"/>
              <a:gd name="connsiteY1" fmla="*/ 6210433 h 6225673"/>
              <a:gd name="connsiteX2" fmla="*/ 0 w 12538205"/>
              <a:gd name="connsiteY2" fmla="*/ 6225673 h 6225673"/>
              <a:gd name="connsiteX3" fmla="*/ 11430 w 12538205"/>
              <a:gd name="connsiteY3" fmla="*/ 4789837 h 6225673"/>
              <a:gd name="connsiteX4" fmla="*/ 547966 w 12538205"/>
              <a:gd name="connsiteY4" fmla="*/ 4719788 h 6225673"/>
              <a:gd name="connsiteX5" fmla="*/ 2301870 w 12538205"/>
              <a:gd name="connsiteY5" fmla="*/ 4503269 h 6225673"/>
              <a:gd name="connsiteX6" fmla="*/ 3851883 w 12538205"/>
              <a:gd name="connsiteY6" fmla="*/ 4177681 h 6225673"/>
              <a:gd name="connsiteX7" fmla="*/ 5465922 w 12538205"/>
              <a:gd name="connsiteY7" fmla="*/ 3761500 h 6225673"/>
              <a:gd name="connsiteX8" fmla="*/ 7127060 w 12538205"/>
              <a:gd name="connsiteY8" fmla="*/ 3613390 h 6225673"/>
              <a:gd name="connsiteX9" fmla="*/ 8777983 w 12538205"/>
              <a:gd name="connsiteY9" fmla="*/ 3010732 h 6225673"/>
              <a:gd name="connsiteX10" fmla="*/ 10389324 w 12538205"/>
              <a:gd name="connsiteY10" fmla="*/ 1804141 h 6225673"/>
              <a:gd name="connsiteX11" fmla="*/ 12533099 w 12538205"/>
              <a:gd name="connsiteY11" fmla="*/ 0 h 6225673"/>
              <a:gd name="connsiteX12" fmla="*/ 12538205 w 12538205"/>
              <a:gd name="connsiteY12" fmla="*/ 0 h 6225673"/>
              <a:gd name="connsiteX0" fmla="*/ 12243565 w 12538205"/>
              <a:gd name="connsiteY0" fmla="*/ 243840 h 6225673"/>
              <a:gd name="connsiteX1" fmla="*/ 12538205 w 12538205"/>
              <a:gd name="connsiteY1" fmla="*/ 6210433 h 6225673"/>
              <a:gd name="connsiteX2" fmla="*/ 0 w 12538205"/>
              <a:gd name="connsiteY2" fmla="*/ 6225673 h 6225673"/>
              <a:gd name="connsiteX3" fmla="*/ 11430 w 12538205"/>
              <a:gd name="connsiteY3" fmla="*/ 4789837 h 6225673"/>
              <a:gd name="connsiteX4" fmla="*/ 547966 w 12538205"/>
              <a:gd name="connsiteY4" fmla="*/ 4719788 h 6225673"/>
              <a:gd name="connsiteX5" fmla="*/ 2301870 w 12538205"/>
              <a:gd name="connsiteY5" fmla="*/ 4503269 h 6225673"/>
              <a:gd name="connsiteX6" fmla="*/ 3851883 w 12538205"/>
              <a:gd name="connsiteY6" fmla="*/ 4177681 h 6225673"/>
              <a:gd name="connsiteX7" fmla="*/ 5465922 w 12538205"/>
              <a:gd name="connsiteY7" fmla="*/ 3761500 h 6225673"/>
              <a:gd name="connsiteX8" fmla="*/ 7127060 w 12538205"/>
              <a:gd name="connsiteY8" fmla="*/ 3613390 h 6225673"/>
              <a:gd name="connsiteX9" fmla="*/ 8777983 w 12538205"/>
              <a:gd name="connsiteY9" fmla="*/ 3010732 h 6225673"/>
              <a:gd name="connsiteX10" fmla="*/ 10389324 w 12538205"/>
              <a:gd name="connsiteY10" fmla="*/ 1804141 h 6225673"/>
              <a:gd name="connsiteX11" fmla="*/ 12533099 w 12538205"/>
              <a:gd name="connsiteY11" fmla="*/ 0 h 6225673"/>
              <a:gd name="connsiteX12" fmla="*/ 12243565 w 12538205"/>
              <a:gd name="connsiteY12" fmla="*/ 243840 h 62256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465922 w 12533099"/>
              <a:gd name="connsiteY7" fmla="*/ 3761500 h 6251073"/>
              <a:gd name="connsiteX8" fmla="*/ 7127060 w 12533099"/>
              <a:gd name="connsiteY8" fmla="*/ 3613390 h 6251073"/>
              <a:gd name="connsiteX9" fmla="*/ 8777983 w 12533099"/>
              <a:gd name="connsiteY9" fmla="*/ 3010732 h 6251073"/>
              <a:gd name="connsiteX10" fmla="*/ 10389324 w 12533099"/>
              <a:gd name="connsiteY10" fmla="*/ 18041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465922 w 12533099"/>
              <a:gd name="connsiteY7" fmla="*/ 3761500 h 6251073"/>
              <a:gd name="connsiteX8" fmla="*/ 6605090 w 12533099"/>
              <a:gd name="connsiteY8" fmla="*/ 3666730 h 6251073"/>
              <a:gd name="connsiteX9" fmla="*/ 8777983 w 12533099"/>
              <a:gd name="connsiteY9" fmla="*/ 3010732 h 6251073"/>
              <a:gd name="connsiteX10" fmla="*/ 10389324 w 12533099"/>
              <a:gd name="connsiteY10" fmla="*/ 18041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465922 w 12533099"/>
              <a:gd name="connsiteY7" fmla="*/ 3761500 h 6251073"/>
              <a:gd name="connsiteX8" fmla="*/ 6605090 w 12533099"/>
              <a:gd name="connsiteY8" fmla="*/ 3666730 h 6251073"/>
              <a:gd name="connsiteX9" fmla="*/ 8050273 w 12533099"/>
              <a:gd name="connsiteY9" fmla="*/ 2991682 h 6251073"/>
              <a:gd name="connsiteX10" fmla="*/ 10389324 w 12533099"/>
              <a:gd name="connsiteY10" fmla="*/ 18041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465922 w 12533099"/>
              <a:gd name="connsiteY7" fmla="*/ 3761500 h 6251073"/>
              <a:gd name="connsiteX8" fmla="*/ 6605090 w 12533099"/>
              <a:gd name="connsiteY8" fmla="*/ 3666730 h 6251073"/>
              <a:gd name="connsiteX9" fmla="*/ 8050273 w 12533099"/>
              <a:gd name="connsiteY9" fmla="*/ 2991682 h 6251073"/>
              <a:gd name="connsiteX10" fmla="*/ 10389324 w 12533099"/>
              <a:gd name="connsiteY10" fmla="*/ 18041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168742 w 12533099"/>
              <a:gd name="connsiteY7" fmla="*/ 3791980 h 6251073"/>
              <a:gd name="connsiteX8" fmla="*/ 6605090 w 12533099"/>
              <a:gd name="connsiteY8" fmla="*/ 3666730 h 6251073"/>
              <a:gd name="connsiteX9" fmla="*/ 8050273 w 12533099"/>
              <a:gd name="connsiteY9" fmla="*/ 2991682 h 6251073"/>
              <a:gd name="connsiteX10" fmla="*/ 10389324 w 12533099"/>
              <a:gd name="connsiteY10" fmla="*/ 18041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168742 w 12533099"/>
              <a:gd name="connsiteY7" fmla="*/ 3791980 h 6251073"/>
              <a:gd name="connsiteX8" fmla="*/ 6605090 w 12533099"/>
              <a:gd name="connsiteY8" fmla="*/ 3666730 h 6251073"/>
              <a:gd name="connsiteX9" fmla="*/ 8050273 w 12533099"/>
              <a:gd name="connsiteY9" fmla="*/ 2991682 h 6251073"/>
              <a:gd name="connsiteX10" fmla="*/ 9487624 w 12533099"/>
              <a:gd name="connsiteY10" fmla="*/ 18168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43565 w 12533099"/>
              <a:gd name="connsiteY0" fmla="*/ 243840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168742 w 12533099"/>
              <a:gd name="connsiteY7" fmla="*/ 3791980 h 6251073"/>
              <a:gd name="connsiteX8" fmla="*/ 6605090 w 12533099"/>
              <a:gd name="connsiteY8" fmla="*/ 3666730 h 6251073"/>
              <a:gd name="connsiteX9" fmla="*/ 8050273 w 12533099"/>
              <a:gd name="connsiteY9" fmla="*/ 2991682 h 6251073"/>
              <a:gd name="connsiteX10" fmla="*/ 9487624 w 12533099"/>
              <a:gd name="connsiteY10" fmla="*/ 1816841 h 6251073"/>
              <a:gd name="connsiteX11" fmla="*/ 12533099 w 12533099"/>
              <a:gd name="connsiteY11" fmla="*/ 0 h 6251073"/>
              <a:gd name="connsiteX12" fmla="*/ 12243565 w 12533099"/>
              <a:gd name="connsiteY12" fmla="*/ 243840 h 6251073"/>
              <a:gd name="connsiteX0" fmla="*/ 12286237 w 12533099"/>
              <a:gd name="connsiteY0" fmla="*/ 1237488 h 6251073"/>
              <a:gd name="connsiteX1" fmla="*/ 12258805 w 12533099"/>
              <a:gd name="connsiteY1" fmla="*/ 6251073 h 6251073"/>
              <a:gd name="connsiteX2" fmla="*/ 0 w 12533099"/>
              <a:gd name="connsiteY2" fmla="*/ 6225673 h 6251073"/>
              <a:gd name="connsiteX3" fmla="*/ 11430 w 12533099"/>
              <a:gd name="connsiteY3" fmla="*/ 4789837 h 6251073"/>
              <a:gd name="connsiteX4" fmla="*/ 547966 w 12533099"/>
              <a:gd name="connsiteY4" fmla="*/ 4719788 h 6251073"/>
              <a:gd name="connsiteX5" fmla="*/ 2301870 w 12533099"/>
              <a:gd name="connsiteY5" fmla="*/ 4503269 h 6251073"/>
              <a:gd name="connsiteX6" fmla="*/ 3851883 w 12533099"/>
              <a:gd name="connsiteY6" fmla="*/ 4177681 h 6251073"/>
              <a:gd name="connsiteX7" fmla="*/ 5168742 w 12533099"/>
              <a:gd name="connsiteY7" fmla="*/ 3791980 h 6251073"/>
              <a:gd name="connsiteX8" fmla="*/ 6605090 w 12533099"/>
              <a:gd name="connsiteY8" fmla="*/ 3666730 h 6251073"/>
              <a:gd name="connsiteX9" fmla="*/ 8050273 w 12533099"/>
              <a:gd name="connsiteY9" fmla="*/ 2991682 h 6251073"/>
              <a:gd name="connsiteX10" fmla="*/ 9487624 w 12533099"/>
              <a:gd name="connsiteY10" fmla="*/ 1816841 h 6251073"/>
              <a:gd name="connsiteX11" fmla="*/ 12533099 w 12533099"/>
              <a:gd name="connsiteY11" fmla="*/ 0 h 6251073"/>
              <a:gd name="connsiteX12" fmla="*/ 12286237 w 12533099"/>
              <a:gd name="connsiteY12" fmla="*/ 1237488 h 6251073"/>
              <a:gd name="connsiteX0" fmla="*/ 12286237 w 12286237"/>
              <a:gd name="connsiteY0" fmla="*/ 0 h 5013585"/>
              <a:gd name="connsiteX1" fmla="*/ 12258805 w 12286237"/>
              <a:gd name="connsiteY1" fmla="*/ 5013585 h 5013585"/>
              <a:gd name="connsiteX2" fmla="*/ 0 w 12286237"/>
              <a:gd name="connsiteY2" fmla="*/ 4988185 h 5013585"/>
              <a:gd name="connsiteX3" fmla="*/ 11430 w 12286237"/>
              <a:gd name="connsiteY3" fmla="*/ 3552349 h 5013585"/>
              <a:gd name="connsiteX4" fmla="*/ 547966 w 12286237"/>
              <a:gd name="connsiteY4" fmla="*/ 3482300 h 5013585"/>
              <a:gd name="connsiteX5" fmla="*/ 2301870 w 12286237"/>
              <a:gd name="connsiteY5" fmla="*/ 3265781 h 5013585"/>
              <a:gd name="connsiteX6" fmla="*/ 3851883 w 12286237"/>
              <a:gd name="connsiteY6" fmla="*/ 2940193 h 5013585"/>
              <a:gd name="connsiteX7" fmla="*/ 5168742 w 12286237"/>
              <a:gd name="connsiteY7" fmla="*/ 2554492 h 5013585"/>
              <a:gd name="connsiteX8" fmla="*/ 6605090 w 12286237"/>
              <a:gd name="connsiteY8" fmla="*/ 2429242 h 5013585"/>
              <a:gd name="connsiteX9" fmla="*/ 8050273 w 12286237"/>
              <a:gd name="connsiteY9" fmla="*/ 1754194 h 5013585"/>
              <a:gd name="connsiteX10" fmla="*/ 9487624 w 12286237"/>
              <a:gd name="connsiteY10" fmla="*/ 579353 h 5013585"/>
              <a:gd name="connsiteX11" fmla="*/ 10917659 w 12286237"/>
              <a:gd name="connsiteY11" fmla="*/ 60960 h 5013585"/>
              <a:gd name="connsiteX12" fmla="*/ 12286237 w 12286237"/>
              <a:gd name="connsiteY12" fmla="*/ 0 h 5013585"/>
              <a:gd name="connsiteX0" fmla="*/ 12286237 w 12286237"/>
              <a:gd name="connsiteY0" fmla="*/ 0 h 5013585"/>
              <a:gd name="connsiteX1" fmla="*/ 12258805 w 12286237"/>
              <a:gd name="connsiteY1" fmla="*/ 5013585 h 5013585"/>
              <a:gd name="connsiteX2" fmla="*/ 0 w 12286237"/>
              <a:gd name="connsiteY2" fmla="*/ 4988185 h 5013585"/>
              <a:gd name="connsiteX3" fmla="*/ 11430 w 12286237"/>
              <a:gd name="connsiteY3" fmla="*/ 3552349 h 5013585"/>
              <a:gd name="connsiteX4" fmla="*/ 547966 w 12286237"/>
              <a:gd name="connsiteY4" fmla="*/ 3482300 h 5013585"/>
              <a:gd name="connsiteX5" fmla="*/ 2301870 w 12286237"/>
              <a:gd name="connsiteY5" fmla="*/ 3265781 h 5013585"/>
              <a:gd name="connsiteX6" fmla="*/ 3851883 w 12286237"/>
              <a:gd name="connsiteY6" fmla="*/ 2940193 h 5013585"/>
              <a:gd name="connsiteX7" fmla="*/ 5168742 w 12286237"/>
              <a:gd name="connsiteY7" fmla="*/ 2554492 h 5013585"/>
              <a:gd name="connsiteX8" fmla="*/ 6605090 w 12286237"/>
              <a:gd name="connsiteY8" fmla="*/ 2429242 h 5013585"/>
              <a:gd name="connsiteX9" fmla="*/ 8050273 w 12286237"/>
              <a:gd name="connsiteY9" fmla="*/ 1754194 h 5013585"/>
              <a:gd name="connsiteX10" fmla="*/ 9487624 w 12286237"/>
              <a:gd name="connsiteY10" fmla="*/ 579353 h 5013585"/>
              <a:gd name="connsiteX11" fmla="*/ 10917659 w 12286237"/>
              <a:gd name="connsiteY11" fmla="*/ 60960 h 5013585"/>
              <a:gd name="connsiteX12" fmla="*/ 12286237 w 12286237"/>
              <a:gd name="connsiteY12" fmla="*/ 0 h 5013585"/>
              <a:gd name="connsiteX0" fmla="*/ 12286237 w 12286237"/>
              <a:gd name="connsiteY0" fmla="*/ 0 h 5013585"/>
              <a:gd name="connsiteX1" fmla="*/ 12258805 w 12286237"/>
              <a:gd name="connsiteY1" fmla="*/ 5013585 h 5013585"/>
              <a:gd name="connsiteX2" fmla="*/ 0 w 12286237"/>
              <a:gd name="connsiteY2" fmla="*/ 4988185 h 5013585"/>
              <a:gd name="connsiteX3" fmla="*/ 11430 w 12286237"/>
              <a:gd name="connsiteY3" fmla="*/ 3552349 h 5013585"/>
              <a:gd name="connsiteX4" fmla="*/ 547966 w 12286237"/>
              <a:gd name="connsiteY4" fmla="*/ 3482300 h 5013585"/>
              <a:gd name="connsiteX5" fmla="*/ 2301870 w 12286237"/>
              <a:gd name="connsiteY5" fmla="*/ 3265781 h 5013585"/>
              <a:gd name="connsiteX6" fmla="*/ 3851883 w 12286237"/>
              <a:gd name="connsiteY6" fmla="*/ 2940193 h 5013585"/>
              <a:gd name="connsiteX7" fmla="*/ 5168742 w 12286237"/>
              <a:gd name="connsiteY7" fmla="*/ 2554492 h 5013585"/>
              <a:gd name="connsiteX8" fmla="*/ 6605090 w 12286237"/>
              <a:gd name="connsiteY8" fmla="*/ 2429242 h 5013585"/>
              <a:gd name="connsiteX9" fmla="*/ 8050273 w 12286237"/>
              <a:gd name="connsiteY9" fmla="*/ 1754194 h 5013585"/>
              <a:gd name="connsiteX10" fmla="*/ 9487624 w 12286237"/>
              <a:gd name="connsiteY10" fmla="*/ 579353 h 5013585"/>
              <a:gd name="connsiteX11" fmla="*/ 10917659 w 12286237"/>
              <a:gd name="connsiteY11" fmla="*/ 60960 h 5013585"/>
              <a:gd name="connsiteX12" fmla="*/ 12286237 w 12286237"/>
              <a:gd name="connsiteY12" fmla="*/ 0 h 5013585"/>
              <a:gd name="connsiteX0" fmla="*/ 12286237 w 12286237"/>
              <a:gd name="connsiteY0" fmla="*/ 0 h 5013585"/>
              <a:gd name="connsiteX1" fmla="*/ 12258805 w 12286237"/>
              <a:gd name="connsiteY1" fmla="*/ 5013585 h 5013585"/>
              <a:gd name="connsiteX2" fmla="*/ 0 w 12286237"/>
              <a:gd name="connsiteY2" fmla="*/ 4988185 h 5013585"/>
              <a:gd name="connsiteX3" fmla="*/ 11430 w 12286237"/>
              <a:gd name="connsiteY3" fmla="*/ 3552349 h 5013585"/>
              <a:gd name="connsiteX4" fmla="*/ 547966 w 12286237"/>
              <a:gd name="connsiteY4" fmla="*/ 3482300 h 5013585"/>
              <a:gd name="connsiteX5" fmla="*/ 2301870 w 12286237"/>
              <a:gd name="connsiteY5" fmla="*/ 3265781 h 5013585"/>
              <a:gd name="connsiteX6" fmla="*/ 3851883 w 12286237"/>
              <a:gd name="connsiteY6" fmla="*/ 2940193 h 5013585"/>
              <a:gd name="connsiteX7" fmla="*/ 5168742 w 12286237"/>
              <a:gd name="connsiteY7" fmla="*/ 2554492 h 5013585"/>
              <a:gd name="connsiteX8" fmla="*/ 6605090 w 12286237"/>
              <a:gd name="connsiteY8" fmla="*/ 2429242 h 5013585"/>
              <a:gd name="connsiteX9" fmla="*/ 8050273 w 12286237"/>
              <a:gd name="connsiteY9" fmla="*/ 1754194 h 5013585"/>
              <a:gd name="connsiteX10" fmla="*/ 9487624 w 12286237"/>
              <a:gd name="connsiteY10" fmla="*/ 579353 h 5013585"/>
              <a:gd name="connsiteX11" fmla="*/ 10917659 w 12286237"/>
              <a:gd name="connsiteY11" fmla="*/ 60960 h 5013585"/>
              <a:gd name="connsiteX12" fmla="*/ 12286237 w 12286237"/>
              <a:gd name="connsiteY12" fmla="*/ 0 h 5013585"/>
              <a:gd name="connsiteX0" fmla="*/ 12315733 w 12315733"/>
              <a:gd name="connsiteY0" fmla="*/ 0 h 5328218"/>
              <a:gd name="connsiteX1" fmla="*/ 12258805 w 12315733"/>
              <a:gd name="connsiteY1" fmla="*/ 5328218 h 5328218"/>
              <a:gd name="connsiteX2" fmla="*/ 0 w 12315733"/>
              <a:gd name="connsiteY2" fmla="*/ 5302818 h 5328218"/>
              <a:gd name="connsiteX3" fmla="*/ 11430 w 12315733"/>
              <a:gd name="connsiteY3" fmla="*/ 3866982 h 5328218"/>
              <a:gd name="connsiteX4" fmla="*/ 547966 w 12315733"/>
              <a:gd name="connsiteY4" fmla="*/ 3796933 h 5328218"/>
              <a:gd name="connsiteX5" fmla="*/ 2301870 w 12315733"/>
              <a:gd name="connsiteY5" fmla="*/ 3580414 h 5328218"/>
              <a:gd name="connsiteX6" fmla="*/ 3851883 w 12315733"/>
              <a:gd name="connsiteY6" fmla="*/ 3254826 h 5328218"/>
              <a:gd name="connsiteX7" fmla="*/ 5168742 w 12315733"/>
              <a:gd name="connsiteY7" fmla="*/ 2869125 h 5328218"/>
              <a:gd name="connsiteX8" fmla="*/ 6605090 w 12315733"/>
              <a:gd name="connsiteY8" fmla="*/ 2743875 h 5328218"/>
              <a:gd name="connsiteX9" fmla="*/ 8050273 w 12315733"/>
              <a:gd name="connsiteY9" fmla="*/ 2068827 h 5328218"/>
              <a:gd name="connsiteX10" fmla="*/ 9487624 w 12315733"/>
              <a:gd name="connsiteY10" fmla="*/ 893986 h 5328218"/>
              <a:gd name="connsiteX11" fmla="*/ 10917659 w 12315733"/>
              <a:gd name="connsiteY11" fmla="*/ 375593 h 5328218"/>
              <a:gd name="connsiteX12" fmla="*/ 12315733 w 12315733"/>
              <a:gd name="connsiteY12" fmla="*/ 0 h 5328218"/>
              <a:gd name="connsiteX0" fmla="*/ 12315733 w 12315733"/>
              <a:gd name="connsiteY0" fmla="*/ 0 h 5328218"/>
              <a:gd name="connsiteX1" fmla="*/ 12258805 w 12315733"/>
              <a:gd name="connsiteY1" fmla="*/ 5328218 h 5328218"/>
              <a:gd name="connsiteX2" fmla="*/ 0 w 12315733"/>
              <a:gd name="connsiteY2" fmla="*/ 5302818 h 5328218"/>
              <a:gd name="connsiteX3" fmla="*/ 11430 w 12315733"/>
              <a:gd name="connsiteY3" fmla="*/ 3866982 h 5328218"/>
              <a:gd name="connsiteX4" fmla="*/ 547966 w 12315733"/>
              <a:gd name="connsiteY4" fmla="*/ 3796933 h 5328218"/>
              <a:gd name="connsiteX5" fmla="*/ 2301870 w 12315733"/>
              <a:gd name="connsiteY5" fmla="*/ 3580414 h 5328218"/>
              <a:gd name="connsiteX6" fmla="*/ 3714723 w 12315733"/>
              <a:gd name="connsiteY6" fmla="*/ 3158306 h 5328218"/>
              <a:gd name="connsiteX7" fmla="*/ 5168742 w 12315733"/>
              <a:gd name="connsiteY7" fmla="*/ 2869125 h 5328218"/>
              <a:gd name="connsiteX8" fmla="*/ 6605090 w 12315733"/>
              <a:gd name="connsiteY8" fmla="*/ 2743875 h 5328218"/>
              <a:gd name="connsiteX9" fmla="*/ 8050273 w 12315733"/>
              <a:gd name="connsiteY9" fmla="*/ 2068827 h 5328218"/>
              <a:gd name="connsiteX10" fmla="*/ 9487624 w 12315733"/>
              <a:gd name="connsiteY10" fmla="*/ 893986 h 5328218"/>
              <a:gd name="connsiteX11" fmla="*/ 10917659 w 12315733"/>
              <a:gd name="connsiteY11" fmla="*/ 375593 h 5328218"/>
              <a:gd name="connsiteX12" fmla="*/ 12315733 w 12315733"/>
              <a:gd name="connsiteY12" fmla="*/ 0 h 5328218"/>
              <a:gd name="connsiteX0" fmla="*/ 12315733 w 12315733"/>
              <a:gd name="connsiteY0" fmla="*/ 0 h 5328218"/>
              <a:gd name="connsiteX1" fmla="*/ 12258805 w 12315733"/>
              <a:gd name="connsiteY1" fmla="*/ 5328218 h 5328218"/>
              <a:gd name="connsiteX2" fmla="*/ 0 w 12315733"/>
              <a:gd name="connsiteY2" fmla="*/ 5302818 h 5328218"/>
              <a:gd name="connsiteX3" fmla="*/ 11430 w 12315733"/>
              <a:gd name="connsiteY3" fmla="*/ 3866982 h 5328218"/>
              <a:gd name="connsiteX4" fmla="*/ 547966 w 12315733"/>
              <a:gd name="connsiteY4" fmla="*/ 3796933 h 5328218"/>
              <a:gd name="connsiteX5" fmla="*/ 2312030 w 12315733"/>
              <a:gd name="connsiteY5" fmla="*/ 3519454 h 5328218"/>
              <a:gd name="connsiteX6" fmla="*/ 3714723 w 12315733"/>
              <a:gd name="connsiteY6" fmla="*/ 3158306 h 5328218"/>
              <a:gd name="connsiteX7" fmla="*/ 5168742 w 12315733"/>
              <a:gd name="connsiteY7" fmla="*/ 2869125 h 5328218"/>
              <a:gd name="connsiteX8" fmla="*/ 6605090 w 12315733"/>
              <a:gd name="connsiteY8" fmla="*/ 2743875 h 5328218"/>
              <a:gd name="connsiteX9" fmla="*/ 8050273 w 12315733"/>
              <a:gd name="connsiteY9" fmla="*/ 2068827 h 5328218"/>
              <a:gd name="connsiteX10" fmla="*/ 9487624 w 12315733"/>
              <a:gd name="connsiteY10" fmla="*/ 893986 h 5328218"/>
              <a:gd name="connsiteX11" fmla="*/ 10917659 w 12315733"/>
              <a:gd name="connsiteY11" fmla="*/ 375593 h 5328218"/>
              <a:gd name="connsiteX12" fmla="*/ 12315733 w 12315733"/>
              <a:gd name="connsiteY12" fmla="*/ 0 h 5328218"/>
              <a:gd name="connsiteX0" fmla="*/ 12315733 w 12315733"/>
              <a:gd name="connsiteY0" fmla="*/ 0 h 5328218"/>
              <a:gd name="connsiteX1" fmla="*/ 12258805 w 12315733"/>
              <a:gd name="connsiteY1" fmla="*/ 5328218 h 5328218"/>
              <a:gd name="connsiteX2" fmla="*/ 0 w 12315733"/>
              <a:gd name="connsiteY2" fmla="*/ 5302818 h 5328218"/>
              <a:gd name="connsiteX3" fmla="*/ 11430 w 12315733"/>
              <a:gd name="connsiteY3" fmla="*/ 3866982 h 5328218"/>
              <a:gd name="connsiteX4" fmla="*/ 857846 w 12315733"/>
              <a:gd name="connsiteY4" fmla="*/ 3675013 h 5328218"/>
              <a:gd name="connsiteX5" fmla="*/ 2312030 w 12315733"/>
              <a:gd name="connsiteY5" fmla="*/ 3519454 h 5328218"/>
              <a:gd name="connsiteX6" fmla="*/ 3714723 w 12315733"/>
              <a:gd name="connsiteY6" fmla="*/ 3158306 h 5328218"/>
              <a:gd name="connsiteX7" fmla="*/ 5168742 w 12315733"/>
              <a:gd name="connsiteY7" fmla="*/ 2869125 h 5328218"/>
              <a:gd name="connsiteX8" fmla="*/ 6605090 w 12315733"/>
              <a:gd name="connsiteY8" fmla="*/ 2743875 h 5328218"/>
              <a:gd name="connsiteX9" fmla="*/ 8050273 w 12315733"/>
              <a:gd name="connsiteY9" fmla="*/ 2068827 h 5328218"/>
              <a:gd name="connsiteX10" fmla="*/ 9487624 w 12315733"/>
              <a:gd name="connsiteY10" fmla="*/ 893986 h 5328218"/>
              <a:gd name="connsiteX11" fmla="*/ 10917659 w 12315733"/>
              <a:gd name="connsiteY11" fmla="*/ 375593 h 5328218"/>
              <a:gd name="connsiteX12" fmla="*/ 12315733 w 12315733"/>
              <a:gd name="connsiteY12" fmla="*/ 0 h 5328218"/>
              <a:gd name="connsiteX0" fmla="*/ 12315733 w 12315733"/>
              <a:gd name="connsiteY0" fmla="*/ 0 h 5328218"/>
              <a:gd name="connsiteX1" fmla="*/ 12258805 w 12315733"/>
              <a:gd name="connsiteY1" fmla="*/ 5328218 h 5328218"/>
              <a:gd name="connsiteX2" fmla="*/ 0 w 12315733"/>
              <a:gd name="connsiteY2" fmla="*/ 5302818 h 5328218"/>
              <a:gd name="connsiteX3" fmla="*/ 1270 w 12315733"/>
              <a:gd name="connsiteY3" fmla="*/ 3760302 h 5328218"/>
              <a:gd name="connsiteX4" fmla="*/ 857846 w 12315733"/>
              <a:gd name="connsiteY4" fmla="*/ 3675013 h 5328218"/>
              <a:gd name="connsiteX5" fmla="*/ 2312030 w 12315733"/>
              <a:gd name="connsiteY5" fmla="*/ 3519454 h 5328218"/>
              <a:gd name="connsiteX6" fmla="*/ 3714723 w 12315733"/>
              <a:gd name="connsiteY6" fmla="*/ 3158306 h 5328218"/>
              <a:gd name="connsiteX7" fmla="*/ 5168742 w 12315733"/>
              <a:gd name="connsiteY7" fmla="*/ 2869125 h 5328218"/>
              <a:gd name="connsiteX8" fmla="*/ 6605090 w 12315733"/>
              <a:gd name="connsiteY8" fmla="*/ 2743875 h 5328218"/>
              <a:gd name="connsiteX9" fmla="*/ 8050273 w 12315733"/>
              <a:gd name="connsiteY9" fmla="*/ 2068827 h 5328218"/>
              <a:gd name="connsiteX10" fmla="*/ 9487624 w 12315733"/>
              <a:gd name="connsiteY10" fmla="*/ 893986 h 5328218"/>
              <a:gd name="connsiteX11" fmla="*/ 10917659 w 12315733"/>
              <a:gd name="connsiteY11" fmla="*/ 375593 h 5328218"/>
              <a:gd name="connsiteX12" fmla="*/ 12315733 w 12315733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62947 w 12320834"/>
              <a:gd name="connsiteY4" fmla="*/ 3675013 h 5328218"/>
              <a:gd name="connsiteX5" fmla="*/ 2317131 w 12320834"/>
              <a:gd name="connsiteY5" fmla="*/ 3519454 h 5328218"/>
              <a:gd name="connsiteX6" fmla="*/ 3719824 w 12320834"/>
              <a:gd name="connsiteY6" fmla="*/ 3158306 h 5328218"/>
              <a:gd name="connsiteX7" fmla="*/ 5173843 w 12320834"/>
              <a:gd name="connsiteY7" fmla="*/ 2869125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317131 w 12320834"/>
              <a:gd name="connsiteY5" fmla="*/ 3519454 h 5328218"/>
              <a:gd name="connsiteX6" fmla="*/ 3719824 w 12320834"/>
              <a:gd name="connsiteY6" fmla="*/ 3158306 h 5328218"/>
              <a:gd name="connsiteX7" fmla="*/ 5173843 w 12320834"/>
              <a:gd name="connsiteY7" fmla="*/ 2869125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19824 w 12320834"/>
              <a:gd name="connsiteY6" fmla="*/ 3158306 h 5328218"/>
              <a:gd name="connsiteX7" fmla="*/ 5173843 w 12320834"/>
              <a:gd name="connsiteY7" fmla="*/ 2869125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57924 w 12320834"/>
              <a:gd name="connsiteY6" fmla="*/ 3244031 h 5328218"/>
              <a:gd name="connsiteX7" fmla="*/ 5173843 w 12320834"/>
              <a:gd name="connsiteY7" fmla="*/ 2869125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73843 w 12320834"/>
              <a:gd name="connsiteY7" fmla="*/ 2869125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88131 w 12320834"/>
              <a:gd name="connsiteY7" fmla="*/ 3002475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10191 w 12320834"/>
              <a:gd name="connsiteY8" fmla="*/ 2743875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57816 w 12320834"/>
              <a:gd name="connsiteY8" fmla="*/ 2853413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055374 w 12320834"/>
              <a:gd name="connsiteY9" fmla="*/ 2068827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164912 w 12320834"/>
              <a:gd name="connsiteY9" fmla="*/ 2116452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283975 w 12320834"/>
              <a:gd name="connsiteY9" fmla="*/ 2168840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383988 w 12320834"/>
              <a:gd name="connsiteY9" fmla="*/ 2283140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083951 w 12320834"/>
              <a:gd name="connsiteY9" fmla="*/ 2340290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083951 w 12320834"/>
              <a:gd name="connsiteY9" fmla="*/ 2340290 h 5328218"/>
              <a:gd name="connsiteX10" fmla="*/ 9492725 w 12320834"/>
              <a:gd name="connsiteY10" fmla="*/ 8939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083951 w 12320834"/>
              <a:gd name="connsiteY9" fmla="*/ 2340290 h 5328218"/>
              <a:gd name="connsiteX10" fmla="*/ 9962625 w 12320834"/>
              <a:gd name="connsiteY10" fmla="*/ 148453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320834 w 12320834"/>
              <a:gd name="connsiteY0" fmla="*/ 0 h 5328218"/>
              <a:gd name="connsiteX1" fmla="*/ 12263906 w 12320834"/>
              <a:gd name="connsiteY1" fmla="*/ 5328218 h 5328218"/>
              <a:gd name="connsiteX2" fmla="*/ 5101 w 12320834"/>
              <a:gd name="connsiteY2" fmla="*/ 5302818 h 5328218"/>
              <a:gd name="connsiteX3" fmla="*/ 21 w 12320834"/>
              <a:gd name="connsiteY3" fmla="*/ 3677752 h 5328218"/>
              <a:gd name="connsiteX4" fmla="*/ 837547 w 12320834"/>
              <a:gd name="connsiteY4" fmla="*/ 3611513 h 5328218"/>
              <a:gd name="connsiteX5" fmla="*/ 2291731 w 12320834"/>
              <a:gd name="connsiteY5" fmla="*/ 3487704 h 5328218"/>
              <a:gd name="connsiteX6" fmla="*/ 3743637 w 12320834"/>
              <a:gd name="connsiteY6" fmla="*/ 3201169 h 5328218"/>
              <a:gd name="connsiteX7" fmla="*/ 5197656 w 12320834"/>
              <a:gd name="connsiteY7" fmla="*/ 2969138 h 5328218"/>
              <a:gd name="connsiteX8" fmla="*/ 6629241 w 12320834"/>
              <a:gd name="connsiteY8" fmla="*/ 2872463 h 5328218"/>
              <a:gd name="connsiteX9" fmla="*/ 8083951 w 12320834"/>
              <a:gd name="connsiteY9" fmla="*/ 2340290 h 5328218"/>
              <a:gd name="connsiteX10" fmla="*/ 9511775 w 12320834"/>
              <a:gd name="connsiteY10" fmla="*/ 1490886 h 5328218"/>
              <a:gd name="connsiteX11" fmla="*/ 10922760 w 12320834"/>
              <a:gd name="connsiteY11" fmla="*/ 375593 h 5328218"/>
              <a:gd name="connsiteX12" fmla="*/ 12320834 w 12320834"/>
              <a:gd name="connsiteY12" fmla="*/ 0 h 532821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083951 w 12276384"/>
              <a:gd name="connsiteY9" fmla="*/ 3095940 h 6083868"/>
              <a:gd name="connsiteX10" fmla="*/ 9511775 w 12276384"/>
              <a:gd name="connsiteY10" fmla="*/ 2246536 h 6083868"/>
              <a:gd name="connsiteX11" fmla="*/ 10922760 w 12276384"/>
              <a:gd name="connsiteY11" fmla="*/ 11312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083951 w 12276384"/>
              <a:gd name="connsiteY9" fmla="*/ 3095940 h 6083868"/>
              <a:gd name="connsiteX10" fmla="*/ 9511775 w 12276384"/>
              <a:gd name="connsiteY10" fmla="*/ 2246536 h 6083868"/>
              <a:gd name="connsiteX11" fmla="*/ 10922760 w 12276384"/>
              <a:gd name="connsiteY11" fmla="*/ 11312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083951 w 12276384"/>
              <a:gd name="connsiteY9" fmla="*/ 3095940 h 6083868"/>
              <a:gd name="connsiteX10" fmla="*/ 9511775 w 12276384"/>
              <a:gd name="connsiteY10" fmla="*/ 2246536 h 6083868"/>
              <a:gd name="connsiteX11" fmla="*/ 10922760 w 12276384"/>
              <a:gd name="connsiteY11" fmla="*/ 11312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083951 w 12276384"/>
              <a:gd name="connsiteY9" fmla="*/ 3095940 h 6083868"/>
              <a:gd name="connsiteX10" fmla="*/ 9511775 w 12276384"/>
              <a:gd name="connsiteY10" fmla="*/ 2246536 h 6083868"/>
              <a:gd name="connsiteX11" fmla="*/ 10948160 w 12276384"/>
              <a:gd name="connsiteY11" fmla="*/ 10931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083951 w 12276384"/>
              <a:gd name="connsiteY9" fmla="*/ 3095940 h 6083868"/>
              <a:gd name="connsiteX10" fmla="*/ 9511775 w 12276384"/>
              <a:gd name="connsiteY10" fmla="*/ 2246536 h 6083868"/>
              <a:gd name="connsiteX11" fmla="*/ 10948160 w 12276384"/>
              <a:gd name="connsiteY11" fmla="*/ 10931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083951 w 12276384"/>
              <a:gd name="connsiteY9" fmla="*/ 3095940 h 6083868"/>
              <a:gd name="connsiteX10" fmla="*/ 9795111 w 12276384"/>
              <a:gd name="connsiteY10" fmla="*/ 1795776 h 6083868"/>
              <a:gd name="connsiteX11" fmla="*/ 10948160 w 12276384"/>
              <a:gd name="connsiteY11" fmla="*/ 10931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0948160 w 12276384"/>
              <a:gd name="connsiteY11" fmla="*/ 10931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0948160 w 12276384"/>
              <a:gd name="connsiteY11" fmla="*/ 10931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0948160 w 12276384"/>
              <a:gd name="connsiteY11" fmla="*/ 1093143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1051191 w 12276384"/>
              <a:gd name="connsiteY11" fmla="*/ 1176856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1122025 w 12276384"/>
              <a:gd name="connsiteY11" fmla="*/ 1067386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1122025 w 12276384"/>
              <a:gd name="connsiteY11" fmla="*/ 1067386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1122025 w 12276384"/>
              <a:gd name="connsiteY11" fmla="*/ 1067386 h 6083868"/>
              <a:gd name="connsiteX12" fmla="*/ 12276384 w 12276384"/>
              <a:gd name="connsiteY12" fmla="*/ 0 h 6083868"/>
              <a:gd name="connsiteX0" fmla="*/ 12276384 w 12276384"/>
              <a:gd name="connsiteY0" fmla="*/ 0 h 6083868"/>
              <a:gd name="connsiteX1" fmla="*/ 12263906 w 12276384"/>
              <a:gd name="connsiteY1" fmla="*/ 6083868 h 6083868"/>
              <a:gd name="connsiteX2" fmla="*/ 5101 w 12276384"/>
              <a:gd name="connsiteY2" fmla="*/ 6058468 h 6083868"/>
              <a:gd name="connsiteX3" fmla="*/ 21 w 12276384"/>
              <a:gd name="connsiteY3" fmla="*/ 4433402 h 6083868"/>
              <a:gd name="connsiteX4" fmla="*/ 837547 w 12276384"/>
              <a:gd name="connsiteY4" fmla="*/ 4367163 h 6083868"/>
              <a:gd name="connsiteX5" fmla="*/ 2291731 w 12276384"/>
              <a:gd name="connsiteY5" fmla="*/ 4243354 h 6083868"/>
              <a:gd name="connsiteX6" fmla="*/ 3743637 w 12276384"/>
              <a:gd name="connsiteY6" fmla="*/ 3956819 h 6083868"/>
              <a:gd name="connsiteX7" fmla="*/ 5197656 w 12276384"/>
              <a:gd name="connsiteY7" fmla="*/ 3724788 h 6083868"/>
              <a:gd name="connsiteX8" fmla="*/ 6629241 w 12276384"/>
              <a:gd name="connsiteY8" fmla="*/ 3628113 h 6083868"/>
              <a:gd name="connsiteX9" fmla="*/ 8502515 w 12276384"/>
              <a:gd name="connsiteY9" fmla="*/ 2696695 h 6083868"/>
              <a:gd name="connsiteX10" fmla="*/ 9795111 w 12276384"/>
              <a:gd name="connsiteY10" fmla="*/ 1795776 h 6083868"/>
              <a:gd name="connsiteX11" fmla="*/ 11122025 w 12276384"/>
              <a:gd name="connsiteY11" fmla="*/ 1067386 h 6083868"/>
              <a:gd name="connsiteX12" fmla="*/ 12276384 w 12276384"/>
              <a:gd name="connsiteY12" fmla="*/ 0 h 608386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3743637 w 12276384"/>
              <a:gd name="connsiteY6" fmla="*/ 4079169 h 6206218"/>
              <a:gd name="connsiteX7" fmla="*/ 5197656 w 12276384"/>
              <a:gd name="connsiteY7" fmla="*/ 3847138 h 6206218"/>
              <a:gd name="connsiteX8" fmla="*/ 6629241 w 12276384"/>
              <a:gd name="connsiteY8" fmla="*/ 3750463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3743637 w 12276384"/>
              <a:gd name="connsiteY6" fmla="*/ 4079169 h 6206218"/>
              <a:gd name="connsiteX7" fmla="*/ 5197656 w 12276384"/>
              <a:gd name="connsiteY7" fmla="*/ 3847138 h 6206218"/>
              <a:gd name="connsiteX8" fmla="*/ 6629241 w 12276384"/>
              <a:gd name="connsiteY8" fmla="*/ 3750463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3743637 w 12276384"/>
              <a:gd name="connsiteY6" fmla="*/ 4079169 h 6206218"/>
              <a:gd name="connsiteX7" fmla="*/ 5197656 w 12276384"/>
              <a:gd name="connsiteY7" fmla="*/ 3847138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3743637 w 12276384"/>
              <a:gd name="connsiteY6" fmla="*/ 4079169 h 6206218"/>
              <a:gd name="connsiteX7" fmla="*/ 5197656 w 12276384"/>
              <a:gd name="connsiteY7" fmla="*/ 3847138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3743637 w 12276384"/>
              <a:gd name="connsiteY6" fmla="*/ 4079169 h 6206218"/>
              <a:gd name="connsiteX7" fmla="*/ 5274929 w 12276384"/>
              <a:gd name="connsiteY7" fmla="*/ 4085397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3743637 w 12276384"/>
              <a:gd name="connsiteY6" fmla="*/ 4079169 h 6206218"/>
              <a:gd name="connsiteX7" fmla="*/ 5854478 w 12276384"/>
              <a:gd name="connsiteY7" fmla="*/ 3898654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4567885 w 12276384"/>
              <a:gd name="connsiteY6" fmla="*/ 3976138 h 6206218"/>
              <a:gd name="connsiteX7" fmla="*/ 5854478 w 12276384"/>
              <a:gd name="connsiteY7" fmla="*/ 3898654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2291731 w 12276384"/>
              <a:gd name="connsiteY5" fmla="*/ 4365704 h 6206218"/>
              <a:gd name="connsiteX6" fmla="*/ 4567885 w 12276384"/>
              <a:gd name="connsiteY6" fmla="*/ 3976138 h 6206218"/>
              <a:gd name="connsiteX7" fmla="*/ 5854478 w 12276384"/>
              <a:gd name="connsiteY7" fmla="*/ 3898654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37547 w 12276384"/>
              <a:gd name="connsiteY4" fmla="*/ 4489513 h 6206218"/>
              <a:gd name="connsiteX5" fmla="*/ 3270526 w 12276384"/>
              <a:gd name="connsiteY5" fmla="*/ 4140324 h 6206218"/>
              <a:gd name="connsiteX6" fmla="*/ 4567885 w 12276384"/>
              <a:gd name="connsiteY6" fmla="*/ 3976138 h 6206218"/>
              <a:gd name="connsiteX7" fmla="*/ 5854478 w 12276384"/>
              <a:gd name="connsiteY7" fmla="*/ 3898654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1661795 w 12276384"/>
              <a:gd name="connsiteY4" fmla="*/ 4547468 h 6206218"/>
              <a:gd name="connsiteX5" fmla="*/ 3270526 w 12276384"/>
              <a:gd name="connsiteY5" fmla="*/ 4140324 h 6206218"/>
              <a:gd name="connsiteX6" fmla="*/ 4567885 w 12276384"/>
              <a:gd name="connsiteY6" fmla="*/ 3976138 h 6206218"/>
              <a:gd name="connsiteX7" fmla="*/ 5854478 w 12276384"/>
              <a:gd name="connsiteY7" fmla="*/ 3898654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1932251 w 12276384"/>
              <a:gd name="connsiteY4" fmla="*/ 4367164 h 6206218"/>
              <a:gd name="connsiteX5" fmla="*/ 3270526 w 12276384"/>
              <a:gd name="connsiteY5" fmla="*/ 4140324 h 6206218"/>
              <a:gd name="connsiteX6" fmla="*/ 4567885 w 12276384"/>
              <a:gd name="connsiteY6" fmla="*/ 3976138 h 6206218"/>
              <a:gd name="connsiteX7" fmla="*/ 5854478 w 12276384"/>
              <a:gd name="connsiteY7" fmla="*/ 3898654 h 6206218"/>
              <a:gd name="connsiteX8" fmla="*/ 7189472 w 12276384"/>
              <a:gd name="connsiteY8" fmla="*/ 3480007 h 6206218"/>
              <a:gd name="connsiteX9" fmla="*/ 8502515 w 12276384"/>
              <a:gd name="connsiteY9" fmla="*/ 2819045 h 6206218"/>
              <a:gd name="connsiteX10" fmla="*/ 9795111 w 12276384"/>
              <a:gd name="connsiteY10" fmla="*/ 1918126 h 6206218"/>
              <a:gd name="connsiteX11" fmla="*/ 11122025 w 12276384"/>
              <a:gd name="connsiteY11" fmla="*/ 1189736 h 6206218"/>
              <a:gd name="connsiteX12" fmla="*/ 12276384 w 12276384"/>
              <a:gd name="connsiteY12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1207796 w 12276384"/>
              <a:gd name="connsiteY4" fmla="*/ 4437640 h 6206218"/>
              <a:gd name="connsiteX5" fmla="*/ 1932251 w 12276384"/>
              <a:gd name="connsiteY5" fmla="*/ 4367164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814991 w 12276384"/>
              <a:gd name="connsiteY4" fmla="*/ 4605066 h 6206218"/>
              <a:gd name="connsiteX5" fmla="*/ 1932251 w 12276384"/>
              <a:gd name="connsiteY5" fmla="*/ 4367164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634687 w 12276384"/>
              <a:gd name="connsiteY4" fmla="*/ 4463399 h 6206218"/>
              <a:gd name="connsiteX5" fmla="*/ 1932251 w 12276384"/>
              <a:gd name="connsiteY5" fmla="*/ 4367164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634687 w 12276384"/>
              <a:gd name="connsiteY4" fmla="*/ 4463399 h 6206218"/>
              <a:gd name="connsiteX5" fmla="*/ 1938691 w 12276384"/>
              <a:gd name="connsiteY5" fmla="*/ 4380043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634687 w 12276384"/>
              <a:gd name="connsiteY4" fmla="*/ 4463399 h 6206218"/>
              <a:gd name="connsiteX5" fmla="*/ 1938691 w 12276384"/>
              <a:gd name="connsiteY5" fmla="*/ 4380043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634687 w 12276384"/>
              <a:gd name="connsiteY4" fmla="*/ 4463399 h 6206218"/>
              <a:gd name="connsiteX5" fmla="*/ 1938691 w 12276384"/>
              <a:gd name="connsiteY5" fmla="*/ 4380043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276384 w 12276384"/>
              <a:gd name="connsiteY0" fmla="*/ 0 h 6206218"/>
              <a:gd name="connsiteX1" fmla="*/ 12263906 w 12276384"/>
              <a:gd name="connsiteY1" fmla="*/ 6206218 h 6206218"/>
              <a:gd name="connsiteX2" fmla="*/ 5101 w 12276384"/>
              <a:gd name="connsiteY2" fmla="*/ 6180818 h 6206218"/>
              <a:gd name="connsiteX3" fmla="*/ 21 w 12276384"/>
              <a:gd name="connsiteY3" fmla="*/ 4555752 h 6206218"/>
              <a:gd name="connsiteX4" fmla="*/ 634687 w 12276384"/>
              <a:gd name="connsiteY4" fmla="*/ 4463399 h 6206218"/>
              <a:gd name="connsiteX5" fmla="*/ 1938691 w 12276384"/>
              <a:gd name="connsiteY5" fmla="*/ 4380043 h 6206218"/>
              <a:gd name="connsiteX6" fmla="*/ 3270526 w 12276384"/>
              <a:gd name="connsiteY6" fmla="*/ 4140324 h 6206218"/>
              <a:gd name="connsiteX7" fmla="*/ 4567885 w 12276384"/>
              <a:gd name="connsiteY7" fmla="*/ 3976138 h 6206218"/>
              <a:gd name="connsiteX8" fmla="*/ 5854478 w 12276384"/>
              <a:gd name="connsiteY8" fmla="*/ 3898654 h 6206218"/>
              <a:gd name="connsiteX9" fmla="*/ 7189472 w 12276384"/>
              <a:gd name="connsiteY9" fmla="*/ 3480007 h 6206218"/>
              <a:gd name="connsiteX10" fmla="*/ 8502515 w 12276384"/>
              <a:gd name="connsiteY10" fmla="*/ 2819045 h 6206218"/>
              <a:gd name="connsiteX11" fmla="*/ 9795111 w 12276384"/>
              <a:gd name="connsiteY11" fmla="*/ 1918126 h 6206218"/>
              <a:gd name="connsiteX12" fmla="*/ 11122025 w 12276384"/>
              <a:gd name="connsiteY12" fmla="*/ 1189736 h 6206218"/>
              <a:gd name="connsiteX13" fmla="*/ 12276384 w 12276384"/>
              <a:gd name="connsiteY13" fmla="*/ 0 h 6206218"/>
              <a:gd name="connsiteX0" fmla="*/ 12396964 w 12396964"/>
              <a:gd name="connsiteY0" fmla="*/ 0 h 5804284"/>
              <a:gd name="connsiteX1" fmla="*/ 12263906 w 12396964"/>
              <a:gd name="connsiteY1" fmla="*/ 5804284 h 5804284"/>
              <a:gd name="connsiteX2" fmla="*/ 5101 w 12396964"/>
              <a:gd name="connsiteY2" fmla="*/ 5778884 h 5804284"/>
              <a:gd name="connsiteX3" fmla="*/ 21 w 12396964"/>
              <a:gd name="connsiteY3" fmla="*/ 4153818 h 5804284"/>
              <a:gd name="connsiteX4" fmla="*/ 634687 w 12396964"/>
              <a:gd name="connsiteY4" fmla="*/ 4061465 h 5804284"/>
              <a:gd name="connsiteX5" fmla="*/ 1938691 w 12396964"/>
              <a:gd name="connsiteY5" fmla="*/ 3978109 h 5804284"/>
              <a:gd name="connsiteX6" fmla="*/ 3270526 w 12396964"/>
              <a:gd name="connsiteY6" fmla="*/ 3738390 h 5804284"/>
              <a:gd name="connsiteX7" fmla="*/ 4567885 w 12396964"/>
              <a:gd name="connsiteY7" fmla="*/ 3574204 h 5804284"/>
              <a:gd name="connsiteX8" fmla="*/ 5854478 w 12396964"/>
              <a:gd name="connsiteY8" fmla="*/ 3496720 h 5804284"/>
              <a:gd name="connsiteX9" fmla="*/ 7189472 w 12396964"/>
              <a:gd name="connsiteY9" fmla="*/ 3078073 h 5804284"/>
              <a:gd name="connsiteX10" fmla="*/ 8502515 w 12396964"/>
              <a:gd name="connsiteY10" fmla="*/ 2417111 h 5804284"/>
              <a:gd name="connsiteX11" fmla="*/ 9795111 w 12396964"/>
              <a:gd name="connsiteY11" fmla="*/ 1516192 h 5804284"/>
              <a:gd name="connsiteX12" fmla="*/ 11122025 w 12396964"/>
              <a:gd name="connsiteY12" fmla="*/ 787802 h 5804284"/>
              <a:gd name="connsiteX13" fmla="*/ 12396964 w 12396964"/>
              <a:gd name="connsiteY13" fmla="*/ 0 h 5804284"/>
              <a:gd name="connsiteX0" fmla="*/ 12396964 w 12396964"/>
              <a:gd name="connsiteY0" fmla="*/ 0 h 5804284"/>
              <a:gd name="connsiteX1" fmla="*/ 12263906 w 12396964"/>
              <a:gd name="connsiteY1" fmla="*/ 5804284 h 5804284"/>
              <a:gd name="connsiteX2" fmla="*/ 5101 w 12396964"/>
              <a:gd name="connsiteY2" fmla="*/ 5778884 h 5804284"/>
              <a:gd name="connsiteX3" fmla="*/ 21 w 12396964"/>
              <a:gd name="connsiteY3" fmla="*/ 4153818 h 5804284"/>
              <a:gd name="connsiteX4" fmla="*/ 634687 w 12396964"/>
              <a:gd name="connsiteY4" fmla="*/ 4061465 h 5804284"/>
              <a:gd name="connsiteX5" fmla="*/ 1938691 w 12396964"/>
              <a:gd name="connsiteY5" fmla="*/ 3978109 h 5804284"/>
              <a:gd name="connsiteX6" fmla="*/ 3270526 w 12396964"/>
              <a:gd name="connsiteY6" fmla="*/ 3738390 h 5804284"/>
              <a:gd name="connsiteX7" fmla="*/ 4567885 w 12396964"/>
              <a:gd name="connsiteY7" fmla="*/ 3574204 h 5804284"/>
              <a:gd name="connsiteX8" fmla="*/ 5854478 w 12396964"/>
              <a:gd name="connsiteY8" fmla="*/ 3496720 h 5804284"/>
              <a:gd name="connsiteX9" fmla="*/ 7189472 w 12396964"/>
              <a:gd name="connsiteY9" fmla="*/ 3078073 h 5804284"/>
              <a:gd name="connsiteX10" fmla="*/ 8502515 w 12396964"/>
              <a:gd name="connsiteY10" fmla="*/ 2417111 h 5804284"/>
              <a:gd name="connsiteX11" fmla="*/ 9795111 w 12396964"/>
              <a:gd name="connsiteY11" fmla="*/ 1516192 h 5804284"/>
              <a:gd name="connsiteX12" fmla="*/ 11122025 w 12396964"/>
              <a:gd name="connsiteY12" fmla="*/ 787802 h 5804284"/>
              <a:gd name="connsiteX13" fmla="*/ 12396964 w 12396964"/>
              <a:gd name="connsiteY13" fmla="*/ 0 h 5804284"/>
              <a:gd name="connsiteX0" fmla="*/ 12396964 w 12396964"/>
              <a:gd name="connsiteY0" fmla="*/ 0 h 5804284"/>
              <a:gd name="connsiteX1" fmla="*/ 12263906 w 12396964"/>
              <a:gd name="connsiteY1" fmla="*/ 5804284 h 5804284"/>
              <a:gd name="connsiteX2" fmla="*/ 5101 w 12396964"/>
              <a:gd name="connsiteY2" fmla="*/ 5778884 h 5804284"/>
              <a:gd name="connsiteX3" fmla="*/ 21 w 12396964"/>
              <a:gd name="connsiteY3" fmla="*/ 4153818 h 5804284"/>
              <a:gd name="connsiteX4" fmla="*/ 634687 w 12396964"/>
              <a:gd name="connsiteY4" fmla="*/ 4061465 h 5804284"/>
              <a:gd name="connsiteX5" fmla="*/ 1938691 w 12396964"/>
              <a:gd name="connsiteY5" fmla="*/ 3978109 h 5804284"/>
              <a:gd name="connsiteX6" fmla="*/ 3270526 w 12396964"/>
              <a:gd name="connsiteY6" fmla="*/ 3738390 h 5804284"/>
              <a:gd name="connsiteX7" fmla="*/ 4567885 w 12396964"/>
              <a:gd name="connsiteY7" fmla="*/ 3574204 h 5804284"/>
              <a:gd name="connsiteX8" fmla="*/ 5854478 w 12396964"/>
              <a:gd name="connsiteY8" fmla="*/ 3496720 h 5804284"/>
              <a:gd name="connsiteX9" fmla="*/ 7189472 w 12396964"/>
              <a:gd name="connsiteY9" fmla="*/ 3078073 h 5804284"/>
              <a:gd name="connsiteX10" fmla="*/ 8502515 w 12396964"/>
              <a:gd name="connsiteY10" fmla="*/ 2417111 h 5804284"/>
              <a:gd name="connsiteX11" fmla="*/ 9795111 w 12396964"/>
              <a:gd name="connsiteY11" fmla="*/ 1516192 h 5804284"/>
              <a:gd name="connsiteX12" fmla="*/ 11122025 w 12396964"/>
              <a:gd name="connsiteY12" fmla="*/ 787802 h 5804284"/>
              <a:gd name="connsiteX13" fmla="*/ 12396964 w 12396964"/>
              <a:gd name="connsiteY13" fmla="*/ 0 h 5804284"/>
              <a:gd name="connsiteX0" fmla="*/ 12396964 w 12396964"/>
              <a:gd name="connsiteY0" fmla="*/ 0 h 5804284"/>
              <a:gd name="connsiteX1" fmla="*/ 12263906 w 12396964"/>
              <a:gd name="connsiteY1" fmla="*/ 5804284 h 5804284"/>
              <a:gd name="connsiteX2" fmla="*/ 5101 w 12396964"/>
              <a:gd name="connsiteY2" fmla="*/ 5778884 h 5804284"/>
              <a:gd name="connsiteX3" fmla="*/ 21 w 12396964"/>
              <a:gd name="connsiteY3" fmla="*/ 4153818 h 5804284"/>
              <a:gd name="connsiteX4" fmla="*/ 634687 w 12396964"/>
              <a:gd name="connsiteY4" fmla="*/ 4061465 h 5804284"/>
              <a:gd name="connsiteX5" fmla="*/ 1938691 w 12396964"/>
              <a:gd name="connsiteY5" fmla="*/ 3978109 h 5804284"/>
              <a:gd name="connsiteX6" fmla="*/ 3270526 w 12396964"/>
              <a:gd name="connsiteY6" fmla="*/ 3738390 h 5804284"/>
              <a:gd name="connsiteX7" fmla="*/ 4567885 w 12396964"/>
              <a:gd name="connsiteY7" fmla="*/ 3574204 h 5804284"/>
              <a:gd name="connsiteX8" fmla="*/ 5854478 w 12396964"/>
              <a:gd name="connsiteY8" fmla="*/ 3496720 h 5804284"/>
              <a:gd name="connsiteX9" fmla="*/ 7189472 w 12396964"/>
              <a:gd name="connsiteY9" fmla="*/ 3078073 h 5804284"/>
              <a:gd name="connsiteX10" fmla="*/ 8502515 w 12396964"/>
              <a:gd name="connsiteY10" fmla="*/ 2417111 h 5804284"/>
              <a:gd name="connsiteX11" fmla="*/ 9795111 w 12396964"/>
              <a:gd name="connsiteY11" fmla="*/ 1516192 h 5804284"/>
              <a:gd name="connsiteX12" fmla="*/ 11122025 w 12396964"/>
              <a:gd name="connsiteY12" fmla="*/ 787802 h 5804284"/>
              <a:gd name="connsiteX13" fmla="*/ 12396964 w 12396964"/>
              <a:gd name="connsiteY13" fmla="*/ 0 h 5804284"/>
              <a:gd name="connsiteX0" fmla="*/ 12396964 w 12396964"/>
              <a:gd name="connsiteY0" fmla="*/ 0 h 5804284"/>
              <a:gd name="connsiteX1" fmla="*/ 12263906 w 12396964"/>
              <a:gd name="connsiteY1" fmla="*/ 5804284 h 5804284"/>
              <a:gd name="connsiteX2" fmla="*/ 5101 w 12396964"/>
              <a:gd name="connsiteY2" fmla="*/ 5778884 h 5804284"/>
              <a:gd name="connsiteX3" fmla="*/ 21 w 12396964"/>
              <a:gd name="connsiteY3" fmla="*/ 4153818 h 5804284"/>
              <a:gd name="connsiteX4" fmla="*/ 634687 w 12396964"/>
              <a:gd name="connsiteY4" fmla="*/ 4061465 h 5804284"/>
              <a:gd name="connsiteX5" fmla="*/ 1938691 w 12396964"/>
              <a:gd name="connsiteY5" fmla="*/ 3978109 h 5804284"/>
              <a:gd name="connsiteX6" fmla="*/ 3270526 w 12396964"/>
              <a:gd name="connsiteY6" fmla="*/ 3738390 h 5804284"/>
              <a:gd name="connsiteX7" fmla="*/ 4567885 w 12396964"/>
              <a:gd name="connsiteY7" fmla="*/ 3574204 h 5804284"/>
              <a:gd name="connsiteX8" fmla="*/ 5854478 w 12396964"/>
              <a:gd name="connsiteY8" fmla="*/ 3496720 h 5804284"/>
              <a:gd name="connsiteX9" fmla="*/ 7189472 w 12396964"/>
              <a:gd name="connsiteY9" fmla="*/ 3078073 h 5804284"/>
              <a:gd name="connsiteX10" fmla="*/ 8502515 w 12396964"/>
              <a:gd name="connsiteY10" fmla="*/ 2417111 h 5804284"/>
              <a:gd name="connsiteX11" fmla="*/ 9795111 w 12396964"/>
              <a:gd name="connsiteY11" fmla="*/ 1516192 h 5804284"/>
              <a:gd name="connsiteX12" fmla="*/ 11122025 w 12396964"/>
              <a:gd name="connsiteY12" fmla="*/ 787802 h 5804284"/>
              <a:gd name="connsiteX13" fmla="*/ 12396964 w 12396964"/>
              <a:gd name="connsiteY13" fmla="*/ 0 h 5804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396964" h="5804284">
                <a:moveTo>
                  <a:pt x="12396964" y="0"/>
                </a:moveTo>
                <a:cubicBezTo>
                  <a:pt x="12392805" y="2027956"/>
                  <a:pt x="12268065" y="3776328"/>
                  <a:pt x="12263906" y="5804284"/>
                </a:cubicBezTo>
                <a:lnTo>
                  <a:pt x="5101" y="5778884"/>
                </a:lnTo>
                <a:cubicBezTo>
                  <a:pt x="5524" y="5264712"/>
                  <a:pt x="-402" y="4667990"/>
                  <a:pt x="21" y="4153818"/>
                </a:cubicBezTo>
                <a:cubicBezTo>
                  <a:pt x="116757" y="4120866"/>
                  <a:pt x="196739" y="4099336"/>
                  <a:pt x="634687" y="4061465"/>
                </a:cubicBezTo>
                <a:cubicBezTo>
                  <a:pt x="956725" y="4030034"/>
                  <a:pt x="1499385" y="4031955"/>
                  <a:pt x="1938691" y="3978109"/>
                </a:cubicBezTo>
                <a:cubicBezTo>
                  <a:pt x="2377997" y="3924263"/>
                  <a:pt x="2832327" y="3805708"/>
                  <a:pt x="3270526" y="3738390"/>
                </a:cubicBezTo>
                <a:cubicBezTo>
                  <a:pt x="3708725" y="3671072"/>
                  <a:pt x="4137226" y="3614482"/>
                  <a:pt x="4567885" y="3574204"/>
                </a:cubicBezTo>
                <a:cubicBezTo>
                  <a:pt x="4998544" y="3533926"/>
                  <a:pt x="5417547" y="3579409"/>
                  <a:pt x="5854478" y="3496720"/>
                </a:cubicBezTo>
                <a:cubicBezTo>
                  <a:pt x="6291409" y="3414032"/>
                  <a:pt x="6748133" y="3258008"/>
                  <a:pt x="7189472" y="3078073"/>
                </a:cubicBezTo>
                <a:cubicBezTo>
                  <a:pt x="7630812" y="2898138"/>
                  <a:pt x="8068242" y="2677424"/>
                  <a:pt x="8502515" y="2417111"/>
                </a:cubicBezTo>
                <a:cubicBezTo>
                  <a:pt x="8936788" y="2156798"/>
                  <a:pt x="9100865" y="1987528"/>
                  <a:pt x="9795111" y="1516192"/>
                </a:cubicBezTo>
                <a:cubicBezTo>
                  <a:pt x="10422599" y="1117652"/>
                  <a:pt x="10273466" y="1243982"/>
                  <a:pt x="11122025" y="787802"/>
                </a:cubicBezTo>
                <a:cubicBezTo>
                  <a:pt x="11894735" y="289751"/>
                  <a:pt x="11357480" y="623798"/>
                  <a:pt x="12396964" y="0"/>
                </a:cubicBezTo>
                <a:close/>
              </a:path>
            </a:pathLst>
          </a:custGeom>
          <a:solidFill>
            <a:srgbClr val="BFDCEC"/>
          </a:solidFill>
          <a:ln w="1276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DC6FD956-34F5-1D7F-B121-045417C04B35}"/>
              </a:ext>
            </a:extLst>
          </p:cNvPr>
          <p:cNvGraphicFramePr>
            <a:graphicFrameLocks/>
          </p:cNvGraphicFramePr>
          <p:nvPr/>
        </p:nvGraphicFramePr>
        <p:xfrm>
          <a:off x="-254000" y="873777"/>
          <a:ext cx="12468808" cy="4071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5" name="Group 44">
            <a:extLst>
              <a:ext uri="{FF2B5EF4-FFF2-40B4-BE49-F238E27FC236}">
                <a16:creationId xmlns:a16="http://schemas.microsoft.com/office/drawing/2014/main" id="{8EA83B09-3CEB-4882-AA47-2BE012AACB25}"/>
              </a:ext>
            </a:extLst>
          </p:cNvPr>
          <p:cNvGrpSpPr>
            <a:grpSpLocks/>
          </p:cNvGrpSpPr>
          <p:nvPr/>
        </p:nvGrpSpPr>
        <p:grpSpPr>
          <a:xfrm>
            <a:off x="3371974" y="2378491"/>
            <a:ext cx="2258691" cy="2020974"/>
            <a:chOff x="5401581" y="1868256"/>
            <a:chExt cx="2258691" cy="2020973"/>
          </a:xfrm>
        </p:grpSpPr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27E5614B-A3AD-471A-BF99-E76CE4E47190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401581" y="1868256"/>
            <a:ext cx="2258691" cy="20209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27" name="Chart 26">
              <a:extLst>
                <a:ext uri="{FF2B5EF4-FFF2-40B4-BE49-F238E27FC236}">
                  <a16:creationId xmlns:a16="http://schemas.microsoft.com/office/drawing/2014/main" id="{061C5E87-7B22-4921-B9E6-8FA0212E547F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938384" y="2421809"/>
            <a:ext cx="1168787" cy="9330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</p:grp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D2B760-C0D6-4957-B3CB-A420D2F6DE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D2B760-C0D6-4957-B3CB-A420D2F6D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A7D21D-92F8-4966-A57E-9BFA99F7AB6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9EFA7AA-BE1B-A645-96E3-C313D7CF7950}"/>
              </a:ext>
            </a:extLst>
          </p:cNvPr>
          <p:cNvSpPr>
            <a:spLocks noGrp="1"/>
          </p:cNvSpPr>
          <p:nvPr>
            <p:ph type="title"/>
          </p:nvPr>
        </p:nvSpPr>
        <p:spPr>
          <a:ln w="12700">
            <a:miter lim="400000"/>
          </a:ln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GB" spc="-75" dirty="0">
                <a:solidFill>
                  <a:srgbClr val="000000"/>
                </a:solidFill>
              </a:rPr>
              <a:t>From local haulier to global player</a:t>
            </a:r>
            <a:endParaRPr lang="en-DK" spc="-75" dirty="0">
              <a:solidFill>
                <a:srgbClr val="000000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1AE95C-1155-4FAB-8637-A913BD41A06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12" rtl="0" eaLnBrk="1" latinLnBrk="0" hangingPunct="1">
              <a:defRPr sz="134" kern="1200">
                <a:noFill/>
                <a:latin typeface="+mn-lt"/>
                <a:ea typeface="+mn-ea"/>
                <a:cs typeface="+mn-cs"/>
              </a:defRPr>
            </a:lvl1pPr>
            <a:lvl2pPr marL="457206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2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17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23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29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35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40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46" algn="l" defTabSz="91441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558CD-ECD3-4615-AB2F-2E877D1CDA78}" type="datetimeFigureOut">
              <a:rPr kumimoji="0" lang="en-GB" sz="134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12/2023</a:t>
            </a:fld>
            <a:endParaRPr kumimoji="0" lang="en-GB" sz="134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Subtitle 2">
            <a:extLst>
              <a:ext uri="{FF2B5EF4-FFF2-40B4-BE49-F238E27FC236}">
                <a16:creationId xmlns:a16="http://schemas.microsoft.com/office/drawing/2014/main" id="{EF7F8537-0DE0-1246-AA00-7EB61378F6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tx1"/>
                </a:solidFill>
              </a:rPr>
              <a:t>A global network created through organic growth and M&amp;A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5D88378-C035-4EFA-8D84-B78205C9A463}"/>
              </a:ext>
            </a:extLst>
          </p:cNvPr>
          <p:cNvSpPr txBox="1">
            <a:spLocks/>
          </p:cNvSpPr>
          <p:nvPr/>
        </p:nvSpPr>
        <p:spPr>
          <a:xfrm>
            <a:off x="1600911" y="4768539"/>
            <a:ext cx="538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7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36A2775F-5C35-4558-9A12-6AC3ABC9BEE2}"/>
              </a:ext>
            </a:extLst>
          </p:cNvPr>
          <p:cNvGrpSpPr>
            <a:grpSpLocks/>
          </p:cNvGrpSpPr>
          <p:nvPr/>
        </p:nvGrpSpPr>
        <p:grpSpPr>
          <a:xfrm>
            <a:off x="940698" y="1733555"/>
            <a:ext cx="3034463" cy="1886076"/>
            <a:chOff x="824456" y="1328555"/>
            <a:chExt cx="3034463" cy="188607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9A1EF3A-327E-4404-A552-B3B859BE6D53}"/>
                </a:ext>
              </a:extLst>
            </p:cNvPr>
            <p:cNvSpPr txBox="1"/>
            <p:nvPr/>
          </p:nvSpPr>
          <p:spPr>
            <a:xfrm>
              <a:off x="824456" y="1328555"/>
              <a:ext cx="3034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reakdown of EBIT by division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309559-1E7D-4C20-979C-A079D9C336B4}"/>
                </a:ext>
              </a:extLst>
            </p:cNvPr>
            <p:cNvSpPr/>
            <p:nvPr/>
          </p:nvSpPr>
          <p:spPr>
            <a:xfrm>
              <a:off x="935469" y="1645501"/>
              <a:ext cx="296012" cy="146104"/>
            </a:xfrm>
            <a:prstGeom prst="rect">
              <a:avLst/>
            </a:prstGeom>
            <a:solidFill>
              <a:srgbClr val="0431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815D507-39AC-4984-8695-BED75E35CFB6}"/>
                </a:ext>
              </a:extLst>
            </p:cNvPr>
            <p:cNvSpPr/>
            <p:nvPr/>
          </p:nvSpPr>
          <p:spPr>
            <a:xfrm>
              <a:off x="935469" y="1828131"/>
              <a:ext cx="296012" cy="14610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74C4BDA-D8FD-4B4A-9BB0-5C58E9A500FD}"/>
                </a:ext>
              </a:extLst>
            </p:cNvPr>
            <p:cNvSpPr/>
            <p:nvPr/>
          </p:nvSpPr>
          <p:spPr>
            <a:xfrm>
              <a:off x="935469" y="2010762"/>
              <a:ext cx="296012" cy="146104"/>
            </a:xfrm>
            <a:prstGeom prst="rect">
              <a:avLst/>
            </a:prstGeom>
            <a:solidFill>
              <a:srgbClr val="4B87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03A4366-3196-483A-93A0-15D1253371F2}"/>
                </a:ext>
              </a:extLst>
            </p:cNvPr>
            <p:cNvSpPr txBox="1"/>
            <p:nvPr/>
          </p:nvSpPr>
          <p:spPr>
            <a:xfrm>
              <a:off x="1283083" y="1593792"/>
              <a:ext cx="92413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ir &amp; Sea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A987AA9-045B-40FC-9532-55E53A4131A1}"/>
                </a:ext>
              </a:extLst>
            </p:cNvPr>
            <p:cNvSpPr txBox="1"/>
            <p:nvPr/>
          </p:nvSpPr>
          <p:spPr>
            <a:xfrm>
              <a:off x="1283083" y="1779172"/>
              <a:ext cx="92413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ad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2FFCCC3-B07A-44F5-9097-FF7B07135EEE}"/>
                </a:ext>
              </a:extLst>
            </p:cNvPr>
            <p:cNvSpPr txBox="1"/>
            <p:nvPr/>
          </p:nvSpPr>
          <p:spPr>
            <a:xfrm>
              <a:off x="1283083" y="1966565"/>
              <a:ext cx="924135" cy="2308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tion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C5019AC-93DD-49A7-892C-4C6B8199856E}"/>
                </a:ext>
              </a:extLst>
            </p:cNvPr>
            <p:cNvSpPr txBox="1"/>
            <p:nvPr/>
          </p:nvSpPr>
          <p:spPr>
            <a:xfrm>
              <a:off x="824456" y="2340094"/>
              <a:ext cx="3034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reakdown of EBIT by geography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8A7F8BD-6DC4-4116-A660-2089C3031066}"/>
                </a:ext>
              </a:extLst>
            </p:cNvPr>
            <p:cNvSpPr/>
            <p:nvPr/>
          </p:nvSpPr>
          <p:spPr>
            <a:xfrm>
              <a:off x="935469" y="2657040"/>
              <a:ext cx="296012" cy="146104"/>
            </a:xfrm>
            <a:prstGeom prst="rect">
              <a:avLst/>
            </a:prstGeom>
            <a:solidFill>
              <a:srgbClr val="199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6D189FB-72AF-4C89-ACE7-AC004182CC71}"/>
                </a:ext>
              </a:extLst>
            </p:cNvPr>
            <p:cNvSpPr/>
            <p:nvPr/>
          </p:nvSpPr>
          <p:spPr>
            <a:xfrm>
              <a:off x="935469" y="2839671"/>
              <a:ext cx="296012" cy="146104"/>
            </a:xfrm>
            <a:prstGeom prst="rect">
              <a:avLst/>
            </a:prstGeom>
            <a:solidFill>
              <a:srgbClr val="E187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0E12741-B64F-4D4B-B06B-0355B1A483E6}"/>
                </a:ext>
              </a:extLst>
            </p:cNvPr>
            <p:cNvSpPr txBox="1"/>
            <p:nvPr/>
          </p:nvSpPr>
          <p:spPr>
            <a:xfrm>
              <a:off x="1270913" y="2605492"/>
              <a:ext cx="9241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EA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57EA44B-32C8-48D7-A1B0-AB699A108BA2}"/>
                </a:ext>
              </a:extLst>
            </p:cNvPr>
            <p:cNvSpPr txBox="1"/>
            <p:nvPr/>
          </p:nvSpPr>
          <p:spPr>
            <a:xfrm>
              <a:off x="1270913" y="2795633"/>
              <a:ext cx="9241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erica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E9EB356-E95C-4523-98C2-CC7032698C89}"/>
                </a:ext>
              </a:extLst>
            </p:cNvPr>
            <p:cNvSpPr/>
            <p:nvPr/>
          </p:nvSpPr>
          <p:spPr>
            <a:xfrm>
              <a:off x="935469" y="3027836"/>
              <a:ext cx="296012" cy="146104"/>
            </a:xfrm>
            <a:prstGeom prst="rect">
              <a:avLst/>
            </a:prstGeom>
            <a:solidFill>
              <a:srgbClr val="FFE6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F680AD6-8719-45C2-B69D-E2BE67CF99C0}"/>
                </a:ext>
              </a:extLst>
            </p:cNvPr>
            <p:cNvSpPr txBox="1"/>
            <p:nvPr/>
          </p:nvSpPr>
          <p:spPr>
            <a:xfrm>
              <a:off x="1270913" y="2983799"/>
              <a:ext cx="92413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AC</a:t>
              </a: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E63E9F3-BC79-46B8-B1B4-B836FF8CFDDB}"/>
              </a:ext>
            </a:extLst>
          </p:cNvPr>
          <p:cNvSpPr txBox="1">
            <a:spLocks/>
          </p:cNvSpPr>
          <p:nvPr/>
        </p:nvSpPr>
        <p:spPr>
          <a:xfrm>
            <a:off x="95860" y="4854141"/>
            <a:ext cx="919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76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D0F1424-503A-41F6-A722-BE099E2F33FC}"/>
              </a:ext>
            </a:extLst>
          </p:cNvPr>
          <p:cNvSpPr txBox="1">
            <a:spLocks/>
          </p:cNvSpPr>
          <p:nvPr/>
        </p:nvSpPr>
        <p:spPr>
          <a:xfrm>
            <a:off x="2913633" y="4539911"/>
            <a:ext cx="5232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0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4B6533E-9F12-4D00-9835-CD06B7518AAD}"/>
              </a:ext>
            </a:extLst>
          </p:cNvPr>
          <p:cNvCxnSpPr>
            <a:cxnSpLocks/>
          </p:cNvCxnSpPr>
          <p:nvPr/>
        </p:nvCxnSpPr>
        <p:spPr>
          <a:xfrm>
            <a:off x="3181172" y="4887090"/>
            <a:ext cx="0" cy="1542651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FA5092F-C2A4-41C5-B5A7-75D636E22584}"/>
              </a:ext>
            </a:extLst>
          </p:cNvPr>
          <p:cNvSpPr txBox="1">
            <a:spLocks/>
          </p:cNvSpPr>
          <p:nvPr/>
        </p:nvSpPr>
        <p:spPr>
          <a:xfrm>
            <a:off x="6700350" y="3878789"/>
            <a:ext cx="8358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8F79004-48F0-48C7-BEB0-EA3119221ED3}"/>
              </a:ext>
            </a:extLst>
          </p:cNvPr>
          <p:cNvCxnSpPr>
            <a:cxnSpLocks/>
          </p:cNvCxnSpPr>
          <p:nvPr/>
        </p:nvCxnSpPr>
        <p:spPr>
          <a:xfrm>
            <a:off x="7113435" y="4224927"/>
            <a:ext cx="0" cy="22050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21C68F2F-5638-420C-B29C-D633E0726FE1}"/>
              </a:ext>
            </a:extLst>
          </p:cNvPr>
          <p:cNvSpPr txBox="1">
            <a:spLocks/>
          </p:cNvSpPr>
          <p:nvPr/>
        </p:nvSpPr>
        <p:spPr>
          <a:xfrm>
            <a:off x="5202072" y="4290452"/>
            <a:ext cx="12017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8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A6207C94-A0E1-425D-A041-52513427720E}"/>
              </a:ext>
            </a:extLst>
          </p:cNvPr>
          <p:cNvCxnSpPr>
            <a:cxnSpLocks/>
          </p:cNvCxnSpPr>
          <p:nvPr/>
        </p:nvCxnSpPr>
        <p:spPr>
          <a:xfrm>
            <a:off x="5802680" y="4637030"/>
            <a:ext cx="0" cy="17910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06577557-6F0A-4F00-938A-FCB5FF096A14}"/>
              </a:ext>
            </a:extLst>
          </p:cNvPr>
          <p:cNvSpPr txBox="1">
            <a:spLocks/>
          </p:cNvSpPr>
          <p:nvPr/>
        </p:nvSpPr>
        <p:spPr>
          <a:xfrm>
            <a:off x="4230018" y="4367891"/>
            <a:ext cx="5308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6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B51BD54-93FE-F04E-B8A5-E8551DCD7EAB}"/>
              </a:ext>
            </a:extLst>
          </p:cNvPr>
          <p:cNvSpPr>
            <a:spLocks/>
          </p:cNvSpPr>
          <p:nvPr/>
        </p:nvSpPr>
        <p:spPr>
          <a:xfrm>
            <a:off x="298712" y="2961010"/>
            <a:ext cx="72968" cy="636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0C90926-1793-441C-83B9-90C96DC4E71C}"/>
              </a:ext>
            </a:extLst>
          </p:cNvPr>
          <p:cNvCxnSpPr>
            <a:cxnSpLocks/>
          </p:cNvCxnSpPr>
          <p:nvPr/>
        </p:nvCxnSpPr>
        <p:spPr>
          <a:xfrm>
            <a:off x="8424188" y="3556467"/>
            <a:ext cx="0" cy="28728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D0AC3C53-9B78-40F9-924C-52E9F433563F}"/>
              </a:ext>
            </a:extLst>
          </p:cNvPr>
          <p:cNvSpPr txBox="1">
            <a:spLocks/>
          </p:cNvSpPr>
          <p:nvPr/>
        </p:nvSpPr>
        <p:spPr>
          <a:xfrm>
            <a:off x="8004874" y="3211752"/>
            <a:ext cx="8417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E856AEB-3267-4952-865C-58A9D03757D9}"/>
              </a:ext>
            </a:extLst>
          </p:cNvPr>
          <p:cNvCxnSpPr>
            <a:cxnSpLocks/>
          </p:cNvCxnSpPr>
          <p:nvPr/>
        </p:nvCxnSpPr>
        <p:spPr>
          <a:xfrm>
            <a:off x="9734943" y="2648082"/>
            <a:ext cx="0" cy="37800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F87F9DDA-E083-4F6B-8505-8475CF55A93D}"/>
              </a:ext>
            </a:extLst>
          </p:cNvPr>
          <p:cNvSpPr txBox="1">
            <a:spLocks/>
          </p:cNvSpPr>
          <p:nvPr/>
        </p:nvSpPr>
        <p:spPr>
          <a:xfrm>
            <a:off x="9317421" y="2304362"/>
            <a:ext cx="8417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55446068-096E-4226-8073-9A08C6BC63F6}"/>
              </a:ext>
            </a:extLst>
          </p:cNvPr>
          <p:cNvCxnSpPr>
            <a:cxnSpLocks/>
          </p:cNvCxnSpPr>
          <p:nvPr/>
        </p:nvCxnSpPr>
        <p:spPr>
          <a:xfrm>
            <a:off x="553744" y="5198968"/>
            <a:ext cx="0" cy="12294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44D962FD-D38C-45F5-8133-BDDAC0B1D901}"/>
              </a:ext>
            </a:extLst>
          </p:cNvPr>
          <p:cNvSpPr txBox="1">
            <a:spLocks/>
          </p:cNvSpPr>
          <p:nvPr/>
        </p:nvSpPr>
        <p:spPr>
          <a:xfrm>
            <a:off x="10624946" y="1573400"/>
            <a:ext cx="8417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674F7CE2-3EEC-4046-BB99-F42BCEE65137}"/>
              </a:ext>
            </a:extLst>
          </p:cNvPr>
          <p:cNvCxnSpPr>
            <a:cxnSpLocks/>
          </p:cNvCxnSpPr>
          <p:nvPr/>
        </p:nvCxnSpPr>
        <p:spPr>
          <a:xfrm>
            <a:off x="11045698" y="1920212"/>
            <a:ext cx="0" cy="45180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E6D970FA-0FB0-45D4-B8D7-2661861742F9}"/>
              </a:ext>
            </a:extLst>
          </p:cNvPr>
          <p:cNvCxnSpPr>
            <a:cxnSpLocks/>
          </p:cNvCxnSpPr>
          <p:nvPr/>
        </p:nvCxnSpPr>
        <p:spPr>
          <a:xfrm>
            <a:off x="4491927" y="4713956"/>
            <a:ext cx="0" cy="17172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43492A2-B281-4E58-B739-FF044412550D}"/>
              </a:ext>
            </a:extLst>
          </p:cNvPr>
          <p:cNvCxnSpPr>
            <a:cxnSpLocks/>
          </p:cNvCxnSpPr>
          <p:nvPr/>
        </p:nvCxnSpPr>
        <p:spPr>
          <a:xfrm>
            <a:off x="1870522" y="5115062"/>
            <a:ext cx="0" cy="13140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4C7E024A-8AC1-4163-AC4C-3680A2EDFAD6}"/>
              </a:ext>
            </a:extLst>
          </p:cNvPr>
          <p:cNvSpPr txBox="1"/>
          <p:nvPr/>
        </p:nvSpPr>
        <p:spPr>
          <a:xfrm>
            <a:off x="557569" y="5969884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 independent hauliers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ed DSV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B70331F8-3BA7-4831-B969-AFCD003DF22B}"/>
              </a:ext>
            </a:extLst>
          </p:cNvPr>
          <p:cNvSpPr txBox="1"/>
          <p:nvPr/>
        </p:nvSpPr>
        <p:spPr>
          <a:xfrm>
            <a:off x="1875257" y="5969003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SV acquired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son Transport 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EA29F2FB-659F-40C9-8126-7DA4DA39B29C}"/>
              </a:ext>
            </a:extLst>
          </p:cNvPr>
          <p:cNvSpPr txBox="1"/>
          <p:nvPr/>
        </p:nvSpPr>
        <p:spPr>
          <a:xfrm>
            <a:off x="3186472" y="5967243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SV acquired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FDS Dan Transport Group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6CB958DC-8523-4CEC-8705-100F48446870}"/>
              </a:ext>
            </a:extLst>
          </p:cNvPr>
          <p:cNvSpPr txBox="1"/>
          <p:nvPr/>
        </p:nvSpPr>
        <p:spPr>
          <a:xfrm>
            <a:off x="4494572" y="5968124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SV acquired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ns Maa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E2926B56-236F-4F23-ACDB-9A0D5B7C6A68}"/>
              </a:ext>
            </a:extLst>
          </p:cNvPr>
          <p:cNvSpPr txBox="1"/>
          <p:nvPr/>
        </p:nvSpPr>
        <p:spPr>
          <a:xfrm>
            <a:off x="5809022" y="5962840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SV acquired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X LOGISTICS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A511256C-CBF0-4D5E-925C-45D1675E3207}"/>
              </a:ext>
            </a:extLst>
          </p:cNvPr>
          <p:cNvSpPr txBox="1"/>
          <p:nvPr/>
        </p:nvSpPr>
        <p:spPr>
          <a:xfrm>
            <a:off x="7117122" y="5963720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SV acquired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 Worldwide 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03614FF-BA8F-41B4-B3CB-8E5CDEAE268C}"/>
              </a:ext>
            </a:extLst>
          </p:cNvPr>
          <p:cNvSpPr txBox="1"/>
          <p:nvPr/>
        </p:nvSpPr>
        <p:spPr>
          <a:xfrm>
            <a:off x="8425222" y="5964602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19, DSV acquired </a:t>
            </a:r>
            <a:r>
              <a:rPr kumimoji="0" lang="it-IT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nalpina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8B7FEDC-4B51-4A8A-855D-6C76F70C2434}"/>
              </a:ext>
            </a:extLst>
          </p:cNvPr>
          <p:cNvSpPr txBox="1"/>
          <p:nvPr/>
        </p:nvSpPr>
        <p:spPr>
          <a:xfrm>
            <a:off x="9739672" y="5965482"/>
            <a:ext cx="1311738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August 2021, DSV acquired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43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ility GI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801920-EBCA-6A42-F35B-05405EB87AD0}"/>
              </a:ext>
            </a:extLst>
          </p:cNvPr>
          <p:cNvGrpSpPr>
            <a:grpSpLocks/>
          </p:cNvGrpSpPr>
          <p:nvPr/>
        </p:nvGrpSpPr>
        <p:grpSpPr>
          <a:xfrm>
            <a:off x="-91912" y="3391629"/>
            <a:ext cx="1360407" cy="1594173"/>
            <a:chOff x="-100739" y="3172131"/>
            <a:chExt cx="1360407" cy="1594173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EFBFD2D1-3EB8-0B2A-EDE6-C73C71A51942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-100739" y="3172131"/>
            <a:ext cx="1360407" cy="15941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A80307D3-F53A-F064-160A-C0733377F87A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38236" y="3699663"/>
            <a:ext cx="679413" cy="5559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6A1BC10-9509-4A29-8BA0-798D76A0BF62}"/>
              </a:ext>
            </a:extLst>
          </p:cNvPr>
          <p:cNvGrpSpPr>
            <a:grpSpLocks/>
          </p:cNvGrpSpPr>
          <p:nvPr/>
        </p:nvGrpSpPr>
        <p:grpSpPr>
          <a:xfrm>
            <a:off x="9187860" y="-107792"/>
            <a:ext cx="2476500" cy="1769917"/>
            <a:chOff x="9708930" y="-151591"/>
            <a:chExt cx="2476500" cy="2133601"/>
          </a:xfrm>
        </p:grpSpPr>
        <p:graphicFrame>
          <p:nvGraphicFramePr>
            <p:cNvPr id="84" name="Chart 83">
              <a:extLst>
                <a:ext uri="{FF2B5EF4-FFF2-40B4-BE49-F238E27FC236}">
                  <a16:creationId xmlns:a16="http://schemas.microsoft.com/office/drawing/2014/main" id="{11DBD170-9F1C-49C2-BAA3-B1D1FE6F1FB8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9708930" y="-151591"/>
            <a:ext cx="2476500" cy="21336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graphicFrame>
          <p:nvGraphicFramePr>
            <p:cNvPr id="85" name="Chart 84">
              <a:extLst>
                <a:ext uri="{FF2B5EF4-FFF2-40B4-BE49-F238E27FC236}">
                  <a16:creationId xmlns:a16="http://schemas.microsoft.com/office/drawing/2014/main" id="{4C39A795-6A93-4479-A8AC-21FEEA7368FB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0286188" y="442512"/>
            <a:ext cx="1321984" cy="95694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03B21111-E475-BC39-3F21-2AE7A1202B57}"/>
              </a:ext>
            </a:extLst>
          </p:cNvPr>
          <p:cNvSpPr txBox="1"/>
          <p:nvPr/>
        </p:nvSpPr>
        <p:spPr>
          <a:xfrm>
            <a:off x="1872082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694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E692BD-E7F2-A804-8FA8-685E6419CD0E}"/>
              </a:ext>
            </a:extLst>
          </p:cNvPr>
          <p:cNvSpPr txBox="1"/>
          <p:nvPr/>
        </p:nvSpPr>
        <p:spPr>
          <a:xfrm>
            <a:off x="1878432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8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1E7902A-220B-A970-06CE-56FD4052E33E}"/>
              </a:ext>
            </a:extLst>
          </p:cNvPr>
          <p:cNvSpPr txBox="1"/>
          <p:nvPr/>
        </p:nvSpPr>
        <p:spPr>
          <a:xfrm>
            <a:off x="3185828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,478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83A9081-CF48-F0A9-6EE2-4BEA79BE70FE}"/>
              </a:ext>
            </a:extLst>
          </p:cNvPr>
          <p:cNvSpPr txBox="1"/>
          <p:nvPr/>
        </p:nvSpPr>
        <p:spPr>
          <a:xfrm>
            <a:off x="3192178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4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AEAF4D1-E75C-622A-451E-36B1755A45A9}"/>
              </a:ext>
            </a:extLst>
          </p:cNvPr>
          <p:cNvSpPr txBox="1"/>
          <p:nvPr/>
        </p:nvSpPr>
        <p:spPr>
          <a:xfrm>
            <a:off x="4493928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,972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49FB143-1F09-C38D-1A04-510A5F5C07C8}"/>
              </a:ext>
            </a:extLst>
          </p:cNvPr>
          <p:cNvSpPr txBox="1"/>
          <p:nvPr/>
        </p:nvSpPr>
        <p:spPr>
          <a:xfrm>
            <a:off x="4500278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504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7401244-8D11-11B4-86FD-A5B9C9C296D7}"/>
              </a:ext>
            </a:extLst>
          </p:cNvPr>
          <p:cNvSpPr txBox="1"/>
          <p:nvPr/>
        </p:nvSpPr>
        <p:spPr>
          <a:xfrm>
            <a:off x="5802218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,435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045BC26-2C91-BB54-5C8B-15D8F5148ABC}"/>
              </a:ext>
            </a:extLst>
          </p:cNvPr>
          <p:cNvSpPr txBox="1"/>
          <p:nvPr/>
        </p:nvSpPr>
        <p:spPr>
          <a:xfrm>
            <a:off x="5808569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936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E87ABEC-5260-95B4-D134-DF3B1D11604D}"/>
              </a:ext>
            </a:extLst>
          </p:cNvPr>
          <p:cNvSpPr txBox="1"/>
          <p:nvPr/>
        </p:nvSpPr>
        <p:spPr>
          <a:xfrm>
            <a:off x="7116669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7,747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069EB50-E729-72AB-4CBF-4B515783C188}"/>
              </a:ext>
            </a:extLst>
          </p:cNvPr>
          <p:cNvSpPr txBox="1"/>
          <p:nvPr/>
        </p:nvSpPr>
        <p:spPr>
          <a:xfrm>
            <a:off x="7123018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,475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38315E0-17DE-E9FB-FB98-379A65CC9F02}"/>
              </a:ext>
            </a:extLst>
          </p:cNvPr>
          <p:cNvSpPr txBox="1"/>
          <p:nvPr/>
        </p:nvSpPr>
        <p:spPr>
          <a:xfrm>
            <a:off x="9739218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2,306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2024449-A1EC-C6FD-D31B-032D29A2AB2E}"/>
              </a:ext>
            </a:extLst>
          </p:cNvPr>
          <p:cNvSpPr txBox="1"/>
          <p:nvPr/>
        </p:nvSpPr>
        <p:spPr>
          <a:xfrm>
            <a:off x="9745569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,223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31C26FE-E3DA-D10C-0E8E-69B75C37C03A}"/>
              </a:ext>
            </a:extLst>
          </p:cNvPr>
          <p:cNvSpPr txBox="1"/>
          <p:nvPr/>
        </p:nvSpPr>
        <p:spPr>
          <a:xfrm>
            <a:off x="8431118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5,932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2D6EBB8-FE4C-FDFC-4B22-8E31F993DC52}"/>
              </a:ext>
            </a:extLst>
          </p:cNvPr>
          <p:cNvSpPr txBox="1"/>
          <p:nvPr/>
        </p:nvSpPr>
        <p:spPr>
          <a:xfrm>
            <a:off x="8437469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,520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B188B80-6914-5F75-32A1-D0FF05136E62}"/>
              </a:ext>
            </a:extLst>
          </p:cNvPr>
          <p:cNvSpPr txBox="1"/>
          <p:nvPr/>
        </p:nvSpPr>
        <p:spPr>
          <a:xfrm>
            <a:off x="11047318" y="5231117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5,665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A0BF69C-54BE-7F9B-9077-AC12686397F4}"/>
              </a:ext>
            </a:extLst>
          </p:cNvPr>
          <p:cNvSpPr txBox="1"/>
          <p:nvPr/>
        </p:nvSpPr>
        <p:spPr>
          <a:xfrm>
            <a:off x="11053669" y="5550081"/>
            <a:ext cx="1311738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3600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,204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Km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F70C47D-84F0-D2E3-C7A6-921BF5AAA00F}"/>
              </a:ext>
            </a:extLst>
          </p:cNvPr>
          <p:cNvSpPr txBox="1"/>
          <p:nvPr/>
        </p:nvSpPr>
        <p:spPr>
          <a:xfrm>
            <a:off x="530676" y="5183608"/>
            <a:ext cx="11516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39AA5C9-A9DB-0AE7-9F1E-FD0B25D0EEB5}"/>
              </a:ext>
            </a:extLst>
          </p:cNvPr>
          <p:cNvSpPr txBox="1"/>
          <p:nvPr/>
        </p:nvSpPr>
        <p:spPr>
          <a:xfrm>
            <a:off x="532447" y="5504269"/>
            <a:ext cx="11516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BIT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C14F082-C095-AE43-0BB4-17E939502B7F}"/>
              </a:ext>
            </a:extLst>
          </p:cNvPr>
          <p:cNvSpPr/>
          <p:nvPr/>
        </p:nvSpPr>
        <p:spPr>
          <a:xfrm>
            <a:off x="12190785" y="0"/>
            <a:ext cx="52741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221827"/>
      </p:ext>
    </p:extLst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C6D7895-1962-DDC1-801F-2AAD8C1C8006}"/>
              </a:ext>
            </a:extLst>
          </p:cNvPr>
          <p:cNvGraphicFramePr/>
          <p:nvPr/>
        </p:nvGraphicFramePr>
        <p:xfrm>
          <a:off x="882650" y="1267743"/>
          <a:ext cx="10090150" cy="5164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itle 5">
            <a:extLst>
              <a:ext uri="{FF2B5EF4-FFF2-40B4-BE49-F238E27FC236}">
                <a16:creationId xmlns:a16="http://schemas.microsoft.com/office/drawing/2014/main" id="{F12F0E20-83C3-94B6-72D9-7ECF6265E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571501"/>
            <a:ext cx="10160000" cy="571500"/>
          </a:xfrm>
        </p:spPr>
        <p:txBody>
          <a:bodyPr/>
          <a:lstStyle/>
          <a:p>
            <a:r>
              <a:rPr lang="en-GB" sz="2800" dirty="0"/>
              <a:t>Our market position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A88CCD5-45D1-F463-34C6-F7E448ED9A7A}"/>
              </a:ext>
            </a:extLst>
          </p:cNvPr>
          <p:cNvSpPr txBox="1">
            <a:spLocks/>
          </p:cNvSpPr>
          <p:nvPr/>
        </p:nvSpPr>
        <p:spPr>
          <a:xfrm>
            <a:off x="1047750" y="980743"/>
            <a:ext cx="10160000" cy="57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kern="1200" spc="-1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-party logistics providers by 2022 revenue in USD bill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61C6C8-05B1-6D7E-6263-EBC8C21B7ED0}"/>
              </a:ext>
            </a:extLst>
          </p:cNvPr>
          <p:cNvGrpSpPr/>
          <p:nvPr/>
        </p:nvGrpSpPr>
        <p:grpSpPr>
          <a:xfrm>
            <a:off x="837900" y="1390648"/>
            <a:ext cx="648000" cy="4842000"/>
            <a:chOff x="487303" y="1417000"/>
            <a:chExt cx="324000" cy="469817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FF8B2C8-73C4-FDB4-F63E-93E1E31C113D}"/>
                </a:ext>
              </a:extLst>
            </p:cNvPr>
            <p:cNvGrpSpPr/>
            <p:nvPr/>
          </p:nvGrpSpPr>
          <p:grpSpPr>
            <a:xfrm>
              <a:off x="487303" y="1417000"/>
              <a:ext cx="324000" cy="4698176"/>
              <a:chOff x="577410" y="1450876"/>
              <a:chExt cx="324000" cy="3929798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DEA9ABFF-708C-C795-24CD-3960E992CFD7}"/>
                  </a:ext>
                </a:extLst>
              </p:cNvPr>
              <p:cNvSpPr/>
              <p:nvPr/>
            </p:nvSpPr>
            <p:spPr>
              <a:xfrm>
                <a:off x="589313" y="1611912"/>
                <a:ext cx="288000" cy="240898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</a:rPr>
                  <a:t>2</a:t>
                </a: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B228DB25-A555-7845-876F-F5E4DA3D0677}"/>
                  </a:ext>
                </a:extLst>
              </p:cNvPr>
              <p:cNvSpPr/>
              <p:nvPr/>
            </p:nvSpPr>
            <p:spPr>
              <a:xfrm>
                <a:off x="577410" y="1450876"/>
                <a:ext cx="299888" cy="170747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7AD22B7-1F63-B0C0-2CED-2041E80AC436}"/>
                  </a:ext>
                </a:extLst>
              </p:cNvPr>
              <p:cNvSpPr/>
              <p:nvPr/>
            </p:nvSpPr>
            <p:spPr>
              <a:xfrm>
                <a:off x="577410" y="1864954"/>
                <a:ext cx="324000" cy="150561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289093E6-818D-EDB7-B53B-0ED72BE2A028}"/>
                  </a:ext>
                </a:extLst>
              </p:cNvPr>
              <p:cNvSpPr/>
              <p:nvPr/>
            </p:nvSpPr>
            <p:spPr>
              <a:xfrm>
                <a:off x="597221" y="2201691"/>
                <a:ext cx="260267" cy="259360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5</a:t>
                </a: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90A204EF-52A7-A48F-9195-76ACF045A41B}"/>
                  </a:ext>
                </a:extLst>
              </p:cNvPr>
              <p:cNvSpPr/>
              <p:nvPr/>
            </p:nvSpPr>
            <p:spPr>
              <a:xfrm>
                <a:off x="577410" y="2035966"/>
                <a:ext cx="299888" cy="170747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4</a:t>
                </a: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4416C8D-55D8-E475-B8D0-2503C376E5F0}"/>
                  </a:ext>
                </a:extLst>
              </p:cNvPr>
              <p:cNvSpPr/>
              <p:nvPr/>
            </p:nvSpPr>
            <p:spPr>
              <a:xfrm>
                <a:off x="577410" y="2649616"/>
                <a:ext cx="299888" cy="170747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7</a:t>
                </a: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0FA763D-DABF-E02E-1D15-D177B577FB45}"/>
                  </a:ext>
                </a:extLst>
              </p:cNvPr>
              <p:cNvSpPr/>
              <p:nvPr/>
            </p:nvSpPr>
            <p:spPr>
              <a:xfrm>
                <a:off x="577410" y="2826630"/>
                <a:ext cx="299888" cy="170747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8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D783B648-0687-71D1-192D-6A417C97A0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7410" y="3027662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9</a:t>
                </a: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DEDD70A-5A5F-9451-8F3C-AFCEA4FB23C4}"/>
                  </a:ext>
                </a:extLst>
              </p:cNvPr>
              <p:cNvSpPr/>
              <p:nvPr/>
            </p:nvSpPr>
            <p:spPr>
              <a:xfrm>
                <a:off x="577410" y="3224078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0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5309B8-8D3D-309D-CA15-03400A4BA758}"/>
                  </a:ext>
                </a:extLst>
              </p:cNvPr>
              <p:cNvSpPr/>
              <p:nvPr/>
            </p:nvSpPr>
            <p:spPr>
              <a:xfrm>
                <a:off x="577410" y="3414499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1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AC521D78-ED1B-56F6-7501-38FC1F3AD3C4}"/>
                  </a:ext>
                </a:extLst>
              </p:cNvPr>
              <p:cNvSpPr/>
              <p:nvPr/>
            </p:nvSpPr>
            <p:spPr>
              <a:xfrm>
                <a:off x="577410" y="3622927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</a:t>
                </a: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2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CC10CA2C-E9CC-6A06-C27E-AC41BA0C0750}"/>
                  </a:ext>
                </a:extLst>
              </p:cNvPr>
              <p:cNvSpPr/>
              <p:nvPr/>
            </p:nvSpPr>
            <p:spPr>
              <a:xfrm>
                <a:off x="577410" y="3831354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</a:t>
                </a: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3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7EF71E1D-8EA2-91FD-B786-D32CAEB6329A}"/>
                  </a:ext>
                </a:extLst>
              </p:cNvPr>
              <p:cNvSpPr/>
              <p:nvPr/>
            </p:nvSpPr>
            <p:spPr>
              <a:xfrm>
                <a:off x="577410" y="4039782"/>
                <a:ext cx="299888" cy="151465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</a:t>
                </a: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4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DEEB249-77F3-BD5E-6B8E-BA065BF42692}"/>
                  </a:ext>
                </a:extLst>
              </p:cNvPr>
              <p:cNvSpPr/>
              <p:nvPr/>
            </p:nvSpPr>
            <p:spPr>
              <a:xfrm>
                <a:off x="577410" y="4215534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5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25637FD3-EE28-96BC-DBC0-1969CE2CDC20}"/>
                  </a:ext>
                </a:extLst>
              </p:cNvPr>
              <p:cNvSpPr/>
              <p:nvPr/>
            </p:nvSpPr>
            <p:spPr>
              <a:xfrm>
                <a:off x="577410" y="4417956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6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C67D915D-5FE8-2155-5E43-625FA6686800}"/>
                  </a:ext>
                </a:extLst>
              </p:cNvPr>
              <p:cNvSpPr/>
              <p:nvPr/>
            </p:nvSpPr>
            <p:spPr>
              <a:xfrm>
                <a:off x="577410" y="4614373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7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0278A829-78C3-72B4-85B3-6FB49C010760}"/>
                  </a:ext>
                </a:extLst>
              </p:cNvPr>
              <p:cNvSpPr/>
              <p:nvPr/>
            </p:nvSpPr>
            <p:spPr>
              <a:xfrm>
                <a:off x="577410" y="4810792"/>
                <a:ext cx="299888" cy="172136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8</a:t>
                </a:r>
                <a:endPara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FD5EA910-4863-8B1A-251B-D08740856E18}"/>
                  </a:ext>
                </a:extLst>
              </p:cNvPr>
              <p:cNvSpPr/>
              <p:nvPr/>
            </p:nvSpPr>
            <p:spPr>
              <a:xfrm>
                <a:off x="577410" y="5019218"/>
                <a:ext cx="299888" cy="190590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19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7468CD4A-F561-9CB3-2ADE-AFBDFDE02B13}"/>
                  </a:ext>
                </a:extLst>
              </p:cNvPr>
              <p:cNvSpPr/>
              <p:nvPr/>
            </p:nvSpPr>
            <p:spPr>
              <a:xfrm>
                <a:off x="577412" y="5228090"/>
                <a:ext cx="299885" cy="152584"/>
              </a:xfrm>
              <a:prstGeom prst="ellipse">
                <a:avLst/>
              </a:prstGeom>
              <a:noFill/>
              <a:ln w="12700" cap="flat" algn="ctr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Helvetica"/>
                    <a:sym typeface="Arial"/>
                  </a:rPr>
                  <a:t>20</a:t>
                </a:r>
                <a:endPara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endParaRPr>
              </a:p>
            </p:txBody>
          </p: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69C0D7A-406E-AEA5-0BAD-3A0266BB99DA}"/>
                </a:ext>
              </a:extLst>
            </p:cNvPr>
            <p:cNvSpPr/>
            <p:nvPr/>
          </p:nvSpPr>
          <p:spPr>
            <a:xfrm>
              <a:off x="489317" y="2604798"/>
              <a:ext cx="299888" cy="176873"/>
            </a:xfrm>
            <a:prstGeom prst="ellipse">
              <a:avLst/>
            </a:prstGeom>
            <a:noFill/>
            <a:ln w="12700" cap="flat" algn="ctr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  <a:sym typeface="Arial"/>
                </a:rPr>
                <a:t>6</a:t>
              </a: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19587FEF-75E2-8123-C030-D5C8801600DC}"/>
              </a:ext>
            </a:extLst>
          </p:cNvPr>
          <p:cNvSpPr/>
          <p:nvPr/>
        </p:nvSpPr>
        <p:spPr>
          <a:xfrm>
            <a:off x="1001188" y="1820178"/>
            <a:ext cx="288000" cy="288000"/>
          </a:xfrm>
          <a:prstGeom prst="ellipse">
            <a:avLst/>
          </a:prstGeom>
          <a:solidFill>
            <a:srgbClr val="0431A6"/>
          </a:solidFill>
          <a:ln w="12700" cap="flat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3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Helvetica"/>
              <a:sym typeface="Arial"/>
            </a:endParaRPr>
          </a:p>
        </p:txBody>
      </p:sp>
      <p:sp>
        <p:nvSpPr>
          <p:cNvPr id="34" name="TextBox 5">
            <a:extLst>
              <a:ext uri="{FF2B5EF4-FFF2-40B4-BE49-F238E27FC236}">
                <a16:creationId xmlns:a16="http://schemas.microsoft.com/office/drawing/2014/main" id="{776AE407-E737-C254-61F5-14863E8EC5F6}"/>
              </a:ext>
            </a:extLst>
          </p:cNvPr>
          <p:cNvSpPr txBox="1">
            <a:spLocks noChangeArrowheads="1"/>
          </p:cNvSpPr>
          <p:nvPr/>
        </p:nvSpPr>
        <p:spPr>
          <a:xfrm>
            <a:off x="1492250" y="6296168"/>
            <a:ext cx="251703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002664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02664"/>
              </a:buClr>
              <a:buChar char="•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2664"/>
              </a:buClr>
              <a:buChar char="•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 charset="0"/>
              </a:rPr>
              <a:t>Sources: Armstrong &amp; Associates, DSV estimates.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8A5B007-6957-5B0E-7755-E945EC96FA43}"/>
              </a:ext>
            </a:extLst>
          </p:cNvPr>
          <p:cNvGrpSpPr/>
          <p:nvPr/>
        </p:nvGrpSpPr>
        <p:grpSpPr>
          <a:xfrm>
            <a:off x="5738581" y="3980504"/>
            <a:ext cx="2910215" cy="1637992"/>
            <a:chOff x="15105638" y="3464272"/>
            <a:chExt cx="4136896" cy="2328419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740B49C-2043-F8DB-6724-7F870417265E}"/>
                </a:ext>
              </a:extLst>
            </p:cNvPr>
            <p:cNvSpPr/>
            <p:nvPr/>
          </p:nvSpPr>
          <p:spPr>
            <a:xfrm>
              <a:off x="15105638" y="3464272"/>
              <a:ext cx="2328420" cy="2328419"/>
            </a:xfrm>
            <a:prstGeom prst="ellipse">
              <a:avLst/>
            </a:prstGeom>
            <a:solidFill>
              <a:srgbClr val="BFDCEC"/>
            </a:solidFill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2664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F3CE01A-4A70-B54C-5139-A7AC8C39156B}"/>
                </a:ext>
              </a:extLst>
            </p:cNvPr>
            <p:cNvSpPr/>
            <p:nvPr/>
          </p:nvSpPr>
          <p:spPr>
            <a:xfrm>
              <a:off x="15767086" y="4601279"/>
              <a:ext cx="3357960" cy="9843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</a:rPr>
                <a:t>The estimated market share of the top 20 third-party logistics provider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A940942-E6D1-409C-2306-422A94528DB8}"/>
                </a:ext>
              </a:extLst>
            </p:cNvPr>
            <p:cNvSpPr/>
            <p:nvPr/>
          </p:nvSpPr>
          <p:spPr>
            <a:xfrm>
              <a:off x="15767084" y="3558335"/>
              <a:ext cx="3475450" cy="109376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</a:rPr>
                <a:t>30 - 40%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CFB2179-4C9B-EE84-FDAD-27CF2A4C939F}"/>
              </a:ext>
            </a:extLst>
          </p:cNvPr>
          <p:cNvGrpSpPr/>
          <p:nvPr/>
        </p:nvGrpSpPr>
        <p:grpSpPr>
          <a:xfrm>
            <a:off x="8886920" y="2503678"/>
            <a:ext cx="2318931" cy="1684104"/>
            <a:chOff x="15003629" y="3451039"/>
            <a:chExt cx="3206119" cy="2328419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736F52F-77D1-08E3-F50B-6A41893F98C6}"/>
                </a:ext>
              </a:extLst>
            </p:cNvPr>
            <p:cNvSpPr/>
            <p:nvPr/>
          </p:nvSpPr>
          <p:spPr>
            <a:xfrm>
              <a:off x="15003629" y="3451039"/>
              <a:ext cx="2328418" cy="2328419"/>
            </a:xfrm>
            <a:prstGeom prst="ellipse">
              <a:avLst/>
            </a:prstGeom>
            <a:solidFill>
              <a:srgbClr val="BFDCEC"/>
            </a:solidFill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002664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472F8AB-FFE0-3D4D-2C68-4726A31153C8}"/>
                </a:ext>
              </a:extLst>
            </p:cNvPr>
            <p:cNvSpPr/>
            <p:nvPr/>
          </p:nvSpPr>
          <p:spPr>
            <a:xfrm>
              <a:off x="15612394" y="4642029"/>
              <a:ext cx="2597354" cy="6808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</a:rPr>
                <a:t>The estimated market share of DSV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DB4D058-C005-CD15-39B8-391518824491}"/>
                </a:ext>
              </a:extLst>
            </p:cNvPr>
            <p:cNvSpPr/>
            <p:nvPr/>
          </p:nvSpPr>
          <p:spPr>
            <a:xfrm>
              <a:off x="15665083" y="3623925"/>
              <a:ext cx="1485357" cy="114892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431A6"/>
                  </a:solidFill>
                  <a:effectLst/>
                  <a:uLnTx/>
                  <a:uFillTx/>
                  <a:latin typeface="Arial"/>
                  <a:ea typeface="+mn-ea"/>
                  <a:cs typeface="Helvetica"/>
                </a:rPr>
                <a:t>4%</a:t>
              </a:r>
            </a:p>
          </p:txBody>
        </p:sp>
      </p:grpSp>
      <p:sp>
        <p:nvSpPr>
          <p:cNvPr id="6" name="Arc 5">
            <a:extLst>
              <a:ext uri="{FF2B5EF4-FFF2-40B4-BE49-F238E27FC236}">
                <a16:creationId xmlns:a16="http://schemas.microsoft.com/office/drawing/2014/main" id="{2C2FEB71-0733-4818-0E99-23D0B26C9FC5}"/>
              </a:ext>
            </a:extLst>
          </p:cNvPr>
          <p:cNvSpPr/>
          <p:nvPr/>
        </p:nvSpPr>
        <p:spPr>
          <a:xfrm rot="9095481">
            <a:off x="8743879" y="1329078"/>
            <a:ext cx="1260000" cy="1316340"/>
          </a:xfrm>
          <a:prstGeom prst="arc">
            <a:avLst>
              <a:gd name="adj1" fmla="val 18879888"/>
              <a:gd name="adj2" fmla="val 960697"/>
            </a:avLst>
          </a:prstGeom>
          <a:ln w="19050" cap="flat" algn="ctr">
            <a:solidFill>
              <a:srgbClr val="0431A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Helvetica"/>
            </a:endParaRPr>
          </a:p>
        </p:txBody>
      </p:sp>
      <p:sp>
        <p:nvSpPr>
          <p:cNvPr id="48" name="Slide Number Placeholder 5">
            <a:extLst>
              <a:ext uri="{FF2B5EF4-FFF2-40B4-BE49-F238E27FC236}">
                <a16:creationId xmlns:a16="http://schemas.microsoft.com/office/drawing/2014/main" id="{6FC58EAE-4695-A93B-E382-E75D35F7CE3C}"/>
              </a:ext>
            </a:extLst>
          </p:cNvPr>
          <p:cNvSpPr txBox="1">
            <a:spLocks/>
          </p:cNvSpPr>
          <p:nvPr/>
        </p:nvSpPr>
        <p:spPr>
          <a:xfrm>
            <a:off x="10541000" y="6178777"/>
            <a:ext cx="635000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marL="0" marR="0" lvl="0" indent="0" algn="r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  <a:sym typeface="Arial"/>
              </a:rPr>
              <a:pPr marL="0" marR="0" lvl="0" indent="0" algn="r" defTabSz="18288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797635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5378D-D113-7C10-4636-B09D35FAA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IT landsca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D74D7-AF72-44B5-CDD4-D54A25ED17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EF7201-F92F-4B08-8CD8-21667D02614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D72E70-34BB-4197-8CF6-35A5AB0C16D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68453-BAB5-46CE-A4CF-38551120EE52}" type="datetime3">
              <a:rPr kumimoji="0" lang="en-US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 December 2023</a:t>
            </a:fld>
            <a:endParaRPr kumimoji="0" lang="en-US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0D965-DF79-7820-4611-94B7708F136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Add place via Insert, Header &amp; Footer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7554F44-AF95-C7F8-FD23-A379C4B317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esigned to support good customer service, high data quality and growth</a:t>
            </a:r>
          </a:p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ABF44F-F0E7-727A-E18B-95B59F1C5ABD}"/>
              </a:ext>
            </a:extLst>
          </p:cNvPr>
          <p:cNvSpPr txBox="1">
            <a:spLocks/>
          </p:cNvSpPr>
          <p:nvPr/>
        </p:nvSpPr>
        <p:spPr>
          <a:xfrm>
            <a:off x="4065929" y="1566525"/>
            <a:ext cx="95699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129B1D-DC29-7BCB-0B37-EE978A4A656F}"/>
              </a:ext>
            </a:extLst>
          </p:cNvPr>
          <p:cNvSpPr txBox="1">
            <a:spLocks/>
          </p:cNvSpPr>
          <p:nvPr/>
        </p:nvSpPr>
        <p:spPr>
          <a:xfrm>
            <a:off x="6793129" y="1549862"/>
            <a:ext cx="173804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yDSV ∙ EDI / API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A75E84B-F034-14CF-237C-5D8C0D30BAE4}"/>
              </a:ext>
            </a:extLst>
          </p:cNvPr>
          <p:cNvSpPr>
            <a:spLocks/>
          </p:cNvSpPr>
          <p:nvPr/>
        </p:nvSpPr>
        <p:spPr>
          <a:xfrm>
            <a:off x="5242369" y="3338915"/>
            <a:ext cx="1693548" cy="1693548"/>
          </a:xfrm>
          <a:prstGeom prst="ellipse">
            <a:avLst/>
          </a:prstGeom>
          <a:solidFill>
            <a:srgbClr val="BFDCEC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431A6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Rounded Rectangle 219">
            <a:extLst>
              <a:ext uri="{FF2B5EF4-FFF2-40B4-BE49-F238E27FC236}">
                <a16:creationId xmlns:a16="http://schemas.microsoft.com/office/drawing/2014/main" id="{398C1668-9F49-1E11-5652-103905084DD4}"/>
              </a:ext>
            </a:extLst>
          </p:cNvPr>
          <p:cNvSpPr>
            <a:spLocks/>
          </p:cNvSpPr>
          <p:nvPr/>
        </p:nvSpPr>
        <p:spPr>
          <a:xfrm>
            <a:off x="4907994" y="3292164"/>
            <a:ext cx="2351988" cy="5268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Road</a:t>
            </a: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92C8A46-E8BE-262E-1B2D-B222B3884D39}"/>
              </a:ext>
            </a:extLst>
          </p:cNvPr>
          <p:cNvSpPr>
            <a:spLocks/>
          </p:cNvSpPr>
          <p:nvPr/>
        </p:nvSpPr>
        <p:spPr>
          <a:xfrm>
            <a:off x="4700088" y="4867678"/>
            <a:ext cx="291579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One primary transport management system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New TMS system planned as part of Road Way Forward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BA41A3B-9413-B2EC-E975-B08D2912EEFA}"/>
              </a:ext>
            </a:extLst>
          </p:cNvPr>
          <p:cNvSpPr>
            <a:spLocks/>
          </p:cNvSpPr>
          <p:nvPr/>
        </p:nvSpPr>
        <p:spPr>
          <a:xfrm>
            <a:off x="2324317" y="3338915"/>
            <a:ext cx="1693548" cy="1693548"/>
          </a:xfrm>
          <a:prstGeom prst="ellipse">
            <a:avLst/>
          </a:prstGeom>
          <a:solidFill>
            <a:srgbClr val="BFDCEC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431A6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3" name="Rounded Rectangle 219">
            <a:extLst>
              <a:ext uri="{FF2B5EF4-FFF2-40B4-BE49-F238E27FC236}">
                <a16:creationId xmlns:a16="http://schemas.microsoft.com/office/drawing/2014/main" id="{7C16528C-4FE9-C082-CB62-A8F043757E11}"/>
              </a:ext>
            </a:extLst>
          </p:cNvPr>
          <p:cNvSpPr>
            <a:spLocks/>
          </p:cNvSpPr>
          <p:nvPr/>
        </p:nvSpPr>
        <p:spPr>
          <a:xfrm>
            <a:off x="2004211" y="3292164"/>
            <a:ext cx="2351988" cy="5268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Air and Sea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1A09590-C84E-FC4E-BAB4-24526BAF9F77}"/>
              </a:ext>
            </a:extLst>
          </p:cNvPr>
          <p:cNvSpPr>
            <a:spLocks/>
          </p:cNvSpPr>
          <p:nvPr/>
        </p:nvSpPr>
        <p:spPr>
          <a:xfrm>
            <a:off x="1943751" y="4867678"/>
            <a:ext cx="25392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Global transport management system</a:t>
            </a: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Off-the-shelf system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13CCD30-0B16-AAFD-CCC6-A3D8AAF8B0DC}"/>
              </a:ext>
            </a:extLst>
          </p:cNvPr>
          <p:cNvSpPr>
            <a:spLocks/>
          </p:cNvSpPr>
          <p:nvPr/>
        </p:nvSpPr>
        <p:spPr>
          <a:xfrm>
            <a:off x="8125607" y="3368049"/>
            <a:ext cx="1693548" cy="1693548"/>
          </a:xfrm>
          <a:prstGeom prst="ellipse">
            <a:avLst/>
          </a:prstGeom>
          <a:solidFill>
            <a:srgbClr val="BFDCEC"/>
          </a:soli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431A6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2" name="Rounded Rectangle 219">
            <a:extLst>
              <a:ext uri="{FF2B5EF4-FFF2-40B4-BE49-F238E27FC236}">
                <a16:creationId xmlns:a16="http://schemas.microsoft.com/office/drawing/2014/main" id="{5CA44BFC-9C80-49DA-55A1-65B6859FF7F8}"/>
              </a:ext>
            </a:extLst>
          </p:cNvPr>
          <p:cNvSpPr>
            <a:spLocks/>
          </p:cNvSpPr>
          <p:nvPr/>
        </p:nvSpPr>
        <p:spPr>
          <a:xfrm>
            <a:off x="7890591" y="3263030"/>
            <a:ext cx="2180033" cy="551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Solution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CE9E2B8-2C40-2ED1-6C24-A45E41F05731}"/>
              </a:ext>
            </a:extLst>
          </p:cNvPr>
          <p:cNvGrpSpPr>
            <a:grpSpLocks/>
          </p:cNvGrpSpPr>
          <p:nvPr/>
        </p:nvGrpSpPr>
        <p:grpSpPr>
          <a:xfrm>
            <a:off x="8609649" y="3958754"/>
            <a:ext cx="741915" cy="572542"/>
            <a:chOff x="4316617" y="4986502"/>
            <a:chExt cx="741915" cy="572542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D6ABDB2-DE68-37C3-5FCF-B59332BE5E9D}"/>
                </a:ext>
              </a:extLst>
            </p:cNvPr>
            <p:cNvSpPr/>
            <p:nvPr/>
          </p:nvSpPr>
          <p:spPr>
            <a:xfrm>
              <a:off x="4486982" y="5467973"/>
              <a:ext cx="116979" cy="91071"/>
            </a:xfrm>
            <a:custGeom>
              <a:avLst/>
              <a:gdLst>
                <a:gd name="connsiteX0" fmla="*/ 0 w 116979"/>
                <a:gd name="connsiteY0" fmla="*/ 0 h 91071"/>
                <a:gd name="connsiteX1" fmla="*/ 116979 w 116979"/>
                <a:gd name="connsiteY1" fmla="*/ 0 h 91071"/>
                <a:gd name="connsiteX2" fmla="*/ 116979 w 116979"/>
                <a:gd name="connsiteY2" fmla="*/ 91071 h 91071"/>
                <a:gd name="connsiteX3" fmla="*/ 0 w 116979"/>
                <a:gd name="connsiteY3" fmla="*/ 91071 h 9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79" h="91071">
                  <a:moveTo>
                    <a:pt x="0" y="0"/>
                  </a:moveTo>
                  <a:lnTo>
                    <a:pt x="116979" y="0"/>
                  </a:lnTo>
                  <a:lnTo>
                    <a:pt x="116979" y="91071"/>
                  </a:lnTo>
                  <a:lnTo>
                    <a:pt x="0" y="91071"/>
                  </a:lnTo>
                  <a:close/>
                </a:path>
              </a:pathLst>
            </a:custGeom>
            <a:noFill/>
            <a:ln w="19050" cap="rnd">
              <a:solidFill>
                <a:srgbClr val="FFE68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B942F9B-D281-B7B0-DD8F-C4980EFE1CDF}"/>
                </a:ext>
              </a:extLst>
            </p:cNvPr>
            <p:cNvSpPr/>
            <p:nvPr/>
          </p:nvSpPr>
          <p:spPr>
            <a:xfrm>
              <a:off x="4486982" y="5377687"/>
              <a:ext cx="116979" cy="91071"/>
            </a:xfrm>
            <a:custGeom>
              <a:avLst/>
              <a:gdLst>
                <a:gd name="connsiteX0" fmla="*/ 0 w 116979"/>
                <a:gd name="connsiteY0" fmla="*/ 0 h 91071"/>
                <a:gd name="connsiteX1" fmla="*/ 116979 w 116979"/>
                <a:gd name="connsiteY1" fmla="*/ 0 h 91071"/>
                <a:gd name="connsiteX2" fmla="*/ 116979 w 116979"/>
                <a:gd name="connsiteY2" fmla="*/ 91071 h 91071"/>
                <a:gd name="connsiteX3" fmla="*/ 0 w 116979"/>
                <a:gd name="connsiteY3" fmla="*/ 91071 h 9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79" h="91071">
                  <a:moveTo>
                    <a:pt x="0" y="0"/>
                  </a:moveTo>
                  <a:lnTo>
                    <a:pt x="116979" y="0"/>
                  </a:lnTo>
                  <a:lnTo>
                    <a:pt x="116979" y="91071"/>
                  </a:lnTo>
                  <a:lnTo>
                    <a:pt x="0" y="91071"/>
                  </a:lnTo>
                  <a:close/>
                </a:path>
              </a:pathLst>
            </a:custGeom>
            <a:noFill/>
            <a:ln w="19050" cap="rnd">
              <a:solidFill>
                <a:srgbClr val="FFE68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3BE9E10-A830-03A0-AB0E-4694DC97B7C2}"/>
                </a:ext>
              </a:extLst>
            </p:cNvPr>
            <p:cNvSpPr/>
            <p:nvPr/>
          </p:nvSpPr>
          <p:spPr>
            <a:xfrm>
              <a:off x="4637721" y="5467973"/>
              <a:ext cx="116979" cy="91071"/>
            </a:xfrm>
            <a:custGeom>
              <a:avLst/>
              <a:gdLst>
                <a:gd name="connsiteX0" fmla="*/ 0 w 116979"/>
                <a:gd name="connsiteY0" fmla="*/ 0 h 91071"/>
                <a:gd name="connsiteX1" fmla="*/ 116979 w 116979"/>
                <a:gd name="connsiteY1" fmla="*/ 0 h 91071"/>
                <a:gd name="connsiteX2" fmla="*/ 116979 w 116979"/>
                <a:gd name="connsiteY2" fmla="*/ 91071 h 91071"/>
                <a:gd name="connsiteX3" fmla="*/ 0 w 116979"/>
                <a:gd name="connsiteY3" fmla="*/ 91071 h 9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979" h="91071">
                  <a:moveTo>
                    <a:pt x="0" y="0"/>
                  </a:moveTo>
                  <a:lnTo>
                    <a:pt x="116979" y="0"/>
                  </a:lnTo>
                  <a:lnTo>
                    <a:pt x="116979" y="91071"/>
                  </a:lnTo>
                  <a:lnTo>
                    <a:pt x="0" y="91071"/>
                  </a:lnTo>
                  <a:close/>
                </a:path>
              </a:pathLst>
            </a:custGeom>
            <a:noFill/>
            <a:ln w="19050" cap="rnd">
              <a:solidFill>
                <a:srgbClr val="FFE68B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B150D7B-EEE8-7FC4-0337-422D26568EEF}"/>
                </a:ext>
              </a:extLst>
            </p:cNvPr>
            <p:cNvSpPr/>
            <p:nvPr/>
          </p:nvSpPr>
          <p:spPr>
            <a:xfrm>
              <a:off x="4326038" y="4986502"/>
              <a:ext cx="732494" cy="105987"/>
            </a:xfrm>
            <a:custGeom>
              <a:avLst/>
              <a:gdLst>
                <a:gd name="connsiteX0" fmla="*/ 732494 w 732494"/>
                <a:gd name="connsiteY0" fmla="*/ 105988 h 105987"/>
                <a:gd name="connsiteX1" fmla="*/ 365855 w 732494"/>
                <a:gd name="connsiteY1" fmla="*/ 0 h 105987"/>
                <a:gd name="connsiteX2" fmla="*/ 0 w 732494"/>
                <a:gd name="connsiteY2" fmla="*/ 105988 h 10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2494" h="105987">
                  <a:moveTo>
                    <a:pt x="732494" y="105988"/>
                  </a:moveTo>
                  <a:lnTo>
                    <a:pt x="365855" y="0"/>
                  </a:lnTo>
                  <a:lnTo>
                    <a:pt x="0" y="105988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3932544-F3C5-8AE3-96ED-5C46ADA3872B}"/>
                </a:ext>
              </a:extLst>
            </p:cNvPr>
            <p:cNvSpPr/>
            <p:nvPr/>
          </p:nvSpPr>
          <p:spPr>
            <a:xfrm>
              <a:off x="4377854" y="5144514"/>
              <a:ext cx="628076" cy="414530"/>
            </a:xfrm>
            <a:custGeom>
              <a:avLst/>
              <a:gdLst>
                <a:gd name="connsiteX0" fmla="*/ 0 w 628076"/>
                <a:gd name="connsiteY0" fmla="*/ 0 h 414530"/>
                <a:gd name="connsiteX1" fmla="*/ 628077 w 628076"/>
                <a:gd name="connsiteY1" fmla="*/ 0 h 414530"/>
                <a:gd name="connsiteX2" fmla="*/ 628077 w 628076"/>
                <a:gd name="connsiteY2" fmla="*/ 414531 h 414530"/>
                <a:gd name="connsiteX3" fmla="*/ 0 w 628076"/>
                <a:gd name="connsiteY3" fmla="*/ 414531 h 414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8076" h="414530">
                  <a:moveTo>
                    <a:pt x="0" y="0"/>
                  </a:moveTo>
                  <a:lnTo>
                    <a:pt x="628077" y="0"/>
                  </a:lnTo>
                  <a:lnTo>
                    <a:pt x="628077" y="414531"/>
                  </a:lnTo>
                  <a:lnTo>
                    <a:pt x="0" y="414531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D46EDBD-6CC3-E0B9-EE4E-424B0833C572}"/>
                </a:ext>
              </a:extLst>
            </p:cNvPr>
            <p:cNvSpPr/>
            <p:nvPr/>
          </p:nvSpPr>
          <p:spPr>
            <a:xfrm>
              <a:off x="4432026" y="5310954"/>
              <a:ext cx="522088" cy="248090"/>
            </a:xfrm>
            <a:custGeom>
              <a:avLst/>
              <a:gdLst>
                <a:gd name="connsiteX0" fmla="*/ 0 w 522088"/>
                <a:gd name="connsiteY0" fmla="*/ 0 h 248090"/>
                <a:gd name="connsiteX1" fmla="*/ 522089 w 522088"/>
                <a:gd name="connsiteY1" fmla="*/ 0 h 248090"/>
                <a:gd name="connsiteX2" fmla="*/ 522089 w 522088"/>
                <a:gd name="connsiteY2" fmla="*/ 248090 h 248090"/>
                <a:gd name="connsiteX3" fmla="*/ 0 w 522088"/>
                <a:gd name="connsiteY3" fmla="*/ 248090 h 24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2088" h="248090">
                  <a:moveTo>
                    <a:pt x="0" y="0"/>
                  </a:moveTo>
                  <a:lnTo>
                    <a:pt x="522089" y="0"/>
                  </a:lnTo>
                  <a:lnTo>
                    <a:pt x="522089" y="248090"/>
                  </a:lnTo>
                  <a:lnTo>
                    <a:pt x="0" y="248090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37DAFB3-7D15-138A-9AAA-2C311FA40727}"/>
                </a:ext>
              </a:extLst>
            </p:cNvPr>
            <p:cNvSpPr/>
            <p:nvPr/>
          </p:nvSpPr>
          <p:spPr>
            <a:xfrm>
              <a:off x="4316617" y="4996131"/>
              <a:ext cx="7850" cy="7850"/>
            </a:xfrm>
            <a:custGeom>
              <a:avLst/>
              <a:gdLst/>
              <a:ahLst/>
              <a:cxnLst/>
              <a:rect l="l" t="t" r="r" b="b"/>
              <a:pathLst>
                <a:path w="7850" h="7850"/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FABD3BD7-AE6E-80AC-A41B-C057B830CCCE}"/>
              </a:ext>
            </a:extLst>
          </p:cNvPr>
          <p:cNvSpPr>
            <a:spLocks/>
          </p:cNvSpPr>
          <p:nvPr/>
        </p:nvSpPr>
        <p:spPr>
          <a:xfrm>
            <a:off x="7485938" y="4867678"/>
            <a:ext cx="2904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Global warehouse management system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Segoe UI" panose="020B0502040204020203" pitchFamily="34" charset="0"/>
              </a:rPr>
              <a:t>Modified off-the-shelf system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C3033E5-827B-2C24-29F2-4FA9857A639D}"/>
              </a:ext>
            </a:extLst>
          </p:cNvPr>
          <p:cNvSpPr/>
          <p:nvPr/>
        </p:nvSpPr>
        <p:spPr>
          <a:xfrm rot="5400000">
            <a:off x="4138898" y="1926281"/>
            <a:ext cx="811052" cy="811052"/>
          </a:xfrm>
          <a:prstGeom prst="ellipse">
            <a:avLst/>
          </a:prstGeom>
          <a:solidFill>
            <a:srgbClr val="F2F2F2"/>
          </a:solidFill>
          <a:ln w="2540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431A6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53" name="Graphic 3">
            <a:extLst>
              <a:ext uri="{FF2B5EF4-FFF2-40B4-BE49-F238E27FC236}">
                <a16:creationId xmlns:a16="http://schemas.microsoft.com/office/drawing/2014/main" id="{AC5E9081-B0C0-8FF3-5BC9-7086FEA49DBB}"/>
              </a:ext>
            </a:extLst>
          </p:cNvPr>
          <p:cNvGrpSpPr/>
          <p:nvPr/>
        </p:nvGrpSpPr>
        <p:grpSpPr>
          <a:xfrm>
            <a:off x="4420188" y="2045934"/>
            <a:ext cx="248598" cy="571778"/>
            <a:chOff x="6019800" y="3252787"/>
            <a:chExt cx="152399" cy="350519"/>
          </a:xfrm>
          <a:noFill/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990677A-F64D-62C3-B28C-0899C6F650D6}"/>
                </a:ext>
              </a:extLst>
            </p:cNvPr>
            <p:cNvSpPr/>
            <p:nvPr/>
          </p:nvSpPr>
          <p:spPr>
            <a:xfrm>
              <a:off x="6065520" y="3252787"/>
              <a:ext cx="60959" cy="76200"/>
            </a:xfrm>
            <a:custGeom>
              <a:avLst/>
              <a:gdLst>
                <a:gd name="connsiteX0" fmla="*/ 60960 w 60959"/>
                <a:gd name="connsiteY0" fmla="*/ 38100 h 76200"/>
                <a:gd name="connsiteX1" fmla="*/ 30480 w 60959"/>
                <a:gd name="connsiteY1" fmla="*/ 76200 h 76200"/>
                <a:gd name="connsiteX2" fmla="*/ 0 w 60959"/>
                <a:gd name="connsiteY2" fmla="*/ 38100 h 76200"/>
                <a:gd name="connsiteX3" fmla="*/ 30480 w 60959"/>
                <a:gd name="connsiteY3" fmla="*/ 0 h 76200"/>
                <a:gd name="connsiteX4" fmla="*/ 60960 w 60959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59" h="76200">
                  <a:moveTo>
                    <a:pt x="60960" y="38100"/>
                  </a:moveTo>
                  <a:cubicBezTo>
                    <a:pt x="60960" y="59142"/>
                    <a:pt x="47314" y="76200"/>
                    <a:pt x="30480" y="76200"/>
                  </a:cubicBezTo>
                  <a:cubicBezTo>
                    <a:pt x="13646" y="76200"/>
                    <a:pt x="0" y="59142"/>
                    <a:pt x="0" y="38100"/>
                  </a:cubicBezTo>
                  <a:cubicBezTo>
                    <a:pt x="0" y="17058"/>
                    <a:pt x="13646" y="0"/>
                    <a:pt x="30480" y="0"/>
                  </a:cubicBezTo>
                  <a:cubicBezTo>
                    <a:pt x="47314" y="0"/>
                    <a:pt x="60960" y="17058"/>
                    <a:pt x="60960" y="38100"/>
                  </a:cubicBezTo>
                  <a:close/>
                </a:path>
              </a:pathLst>
            </a:custGeom>
            <a:noFill/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83BC794-1A31-D016-3B7C-B0B5BF24125C}"/>
                </a:ext>
              </a:extLst>
            </p:cNvPr>
            <p:cNvSpPr/>
            <p:nvPr/>
          </p:nvSpPr>
          <p:spPr>
            <a:xfrm>
              <a:off x="6141720" y="3405187"/>
              <a:ext cx="9525" cy="198119"/>
            </a:xfrm>
            <a:custGeom>
              <a:avLst/>
              <a:gdLst>
                <a:gd name="connsiteX0" fmla="*/ 0 w 9525"/>
                <a:gd name="connsiteY0" fmla="*/ 0 h 198119"/>
                <a:gd name="connsiteX1" fmla="*/ 0 w 9525"/>
                <a:gd name="connsiteY1" fmla="*/ 198120 h 198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8119">
                  <a:moveTo>
                    <a:pt x="0" y="0"/>
                  </a:moveTo>
                  <a:lnTo>
                    <a:pt x="0" y="198120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72AFC4-6B2D-1F79-B6A3-78A906477558}"/>
                </a:ext>
              </a:extLst>
            </p:cNvPr>
            <p:cNvSpPr/>
            <p:nvPr/>
          </p:nvSpPr>
          <p:spPr>
            <a:xfrm>
              <a:off x="6096000" y="3489007"/>
              <a:ext cx="9525" cy="114299"/>
            </a:xfrm>
            <a:custGeom>
              <a:avLst/>
              <a:gdLst>
                <a:gd name="connsiteX0" fmla="*/ 0 w 9525"/>
                <a:gd name="connsiteY0" fmla="*/ 114300 h 114299"/>
                <a:gd name="connsiteX1" fmla="*/ 0 w 9525"/>
                <a:gd name="connsiteY1" fmla="*/ 0 h 11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14299">
                  <a:moveTo>
                    <a:pt x="0" y="114300"/>
                  </a:moveTo>
                  <a:lnTo>
                    <a:pt x="0" y="0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442CE95-0A89-7C7B-5079-888432862E08}"/>
                </a:ext>
              </a:extLst>
            </p:cNvPr>
            <p:cNvSpPr/>
            <p:nvPr/>
          </p:nvSpPr>
          <p:spPr>
            <a:xfrm>
              <a:off x="6118859" y="3351846"/>
              <a:ext cx="53340" cy="137159"/>
            </a:xfrm>
            <a:custGeom>
              <a:avLst/>
              <a:gdLst>
                <a:gd name="connsiteX0" fmla="*/ 0 w 53340"/>
                <a:gd name="connsiteY0" fmla="*/ 0 h 137159"/>
                <a:gd name="connsiteX1" fmla="*/ 7620 w 53340"/>
                <a:gd name="connsiteY1" fmla="*/ 0 h 137159"/>
                <a:gd name="connsiteX2" fmla="*/ 53340 w 53340"/>
                <a:gd name="connsiteY2" fmla="*/ 45720 h 137159"/>
                <a:gd name="connsiteX3" fmla="*/ 53340 w 53340"/>
                <a:gd name="connsiteY3" fmla="*/ 102870 h 137159"/>
                <a:gd name="connsiteX4" fmla="*/ 36195 w 53340"/>
                <a:gd name="connsiteY4" fmla="*/ 130493 h 137159"/>
                <a:gd name="connsiteX5" fmla="*/ 22860 w 53340"/>
                <a:gd name="connsiteY5" fmla="*/ 137160 h 13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340" h="137159">
                  <a:moveTo>
                    <a:pt x="0" y="0"/>
                  </a:moveTo>
                  <a:lnTo>
                    <a:pt x="7620" y="0"/>
                  </a:lnTo>
                  <a:cubicBezTo>
                    <a:pt x="33338" y="0"/>
                    <a:pt x="53340" y="20003"/>
                    <a:pt x="53340" y="45720"/>
                  </a:cubicBezTo>
                  <a:lnTo>
                    <a:pt x="53340" y="102870"/>
                  </a:lnTo>
                  <a:cubicBezTo>
                    <a:pt x="53340" y="114300"/>
                    <a:pt x="46672" y="124778"/>
                    <a:pt x="36195" y="130493"/>
                  </a:cubicBezTo>
                  <a:lnTo>
                    <a:pt x="22860" y="137160"/>
                  </a:lnTo>
                </a:path>
              </a:pathLst>
            </a:custGeom>
            <a:noFill/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965F5F3-0CA6-BDF2-C9B2-539100E9BA4A}"/>
                </a:ext>
              </a:extLst>
            </p:cNvPr>
            <p:cNvSpPr/>
            <p:nvPr/>
          </p:nvSpPr>
          <p:spPr>
            <a:xfrm>
              <a:off x="6019800" y="3351846"/>
              <a:ext cx="53339" cy="137159"/>
            </a:xfrm>
            <a:custGeom>
              <a:avLst/>
              <a:gdLst>
                <a:gd name="connsiteX0" fmla="*/ 53340 w 53339"/>
                <a:gd name="connsiteY0" fmla="*/ 0 h 137159"/>
                <a:gd name="connsiteX1" fmla="*/ 45720 w 53339"/>
                <a:gd name="connsiteY1" fmla="*/ 0 h 137159"/>
                <a:gd name="connsiteX2" fmla="*/ 0 w 53339"/>
                <a:gd name="connsiteY2" fmla="*/ 45720 h 137159"/>
                <a:gd name="connsiteX3" fmla="*/ 0 w 53339"/>
                <a:gd name="connsiteY3" fmla="*/ 102870 h 137159"/>
                <a:gd name="connsiteX4" fmla="*/ 17145 w 53339"/>
                <a:gd name="connsiteY4" fmla="*/ 130493 h 137159"/>
                <a:gd name="connsiteX5" fmla="*/ 30480 w 53339"/>
                <a:gd name="connsiteY5" fmla="*/ 137160 h 137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339" h="137159">
                  <a:moveTo>
                    <a:pt x="53340" y="0"/>
                  </a:moveTo>
                  <a:lnTo>
                    <a:pt x="45720" y="0"/>
                  </a:lnTo>
                  <a:cubicBezTo>
                    <a:pt x="20003" y="0"/>
                    <a:pt x="0" y="20003"/>
                    <a:pt x="0" y="45720"/>
                  </a:cubicBezTo>
                  <a:lnTo>
                    <a:pt x="0" y="102870"/>
                  </a:lnTo>
                  <a:cubicBezTo>
                    <a:pt x="0" y="114300"/>
                    <a:pt x="6668" y="124778"/>
                    <a:pt x="17145" y="130493"/>
                  </a:cubicBezTo>
                  <a:lnTo>
                    <a:pt x="30480" y="137160"/>
                  </a:lnTo>
                </a:path>
              </a:pathLst>
            </a:custGeom>
            <a:noFill/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FD04FF1-B557-0439-36F1-A2C6EB3583F8}"/>
                </a:ext>
              </a:extLst>
            </p:cNvPr>
            <p:cNvSpPr/>
            <p:nvPr/>
          </p:nvSpPr>
          <p:spPr>
            <a:xfrm>
              <a:off x="6050280" y="3403282"/>
              <a:ext cx="9525" cy="200024"/>
            </a:xfrm>
            <a:custGeom>
              <a:avLst/>
              <a:gdLst>
                <a:gd name="connsiteX0" fmla="*/ 0 w 9525"/>
                <a:gd name="connsiteY0" fmla="*/ 0 h 200024"/>
                <a:gd name="connsiteX1" fmla="*/ 0 w 9525"/>
                <a:gd name="connsiteY1" fmla="*/ 200025 h 20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00024">
                  <a:moveTo>
                    <a:pt x="0" y="0"/>
                  </a:moveTo>
                  <a:lnTo>
                    <a:pt x="0" y="200025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0" name="Oval 59">
            <a:extLst>
              <a:ext uri="{FF2B5EF4-FFF2-40B4-BE49-F238E27FC236}">
                <a16:creationId xmlns:a16="http://schemas.microsoft.com/office/drawing/2014/main" id="{EF61F47B-3B76-AFCE-1392-75452B4525A5}"/>
              </a:ext>
            </a:extLst>
          </p:cNvPr>
          <p:cNvSpPr/>
          <p:nvPr/>
        </p:nvSpPr>
        <p:spPr>
          <a:xfrm rot="5400000">
            <a:off x="7256623" y="1926281"/>
            <a:ext cx="811052" cy="811052"/>
          </a:xfrm>
          <a:prstGeom prst="ellipse">
            <a:avLst/>
          </a:prstGeom>
          <a:solidFill>
            <a:srgbClr val="F2F2F2"/>
          </a:solidFill>
          <a:ln w="2540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431A6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61" name="Graphic 155">
            <a:extLst>
              <a:ext uri="{FF2B5EF4-FFF2-40B4-BE49-F238E27FC236}">
                <a16:creationId xmlns:a16="http://schemas.microsoft.com/office/drawing/2014/main" id="{1779EAD2-841D-63D0-6C5F-1925D36CE584}"/>
              </a:ext>
            </a:extLst>
          </p:cNvPr>
          <p:cNvGrpSpPr/>
          <p:nvPr/>
        </p:nvGrpSpPr>
        <p:grpSpPr>
          <a:xfrm>
            <a:off x="7447885" y="2149327"/>
            <a:ext cx="421889" cy="373285"/>
            <a:chOff x="5270181" y="2703194"/>
            <a:chExt cx="1653540" cy="1463041"/>
          </a:xfrm>
          <a:solidFill>
            <a:srgbClr val="FFFFFF"/>
          </a:solidFill>
        </p:grpSpPr>
        <p:grpSp>
          <p:nvGrpSpPr>
            <p:cNvPr id="62" name="Graphic 155">
              <a:extLst>
                <a:ext uri="{FF2B5EF4-FFF2-40B4-BE49-F238E27FC236}">
                  <a16:creationId xmlns:a16="http://schemas.microsoft.com/office/drawing/2014/main" id="{17E3570D-32A9-73C5-977F-41EDAC9D1DC4}"/>
                </a:ext>
              </a:extLst>
            </p:cNvPr>
            <p:cNvGrpSpPr/>
            <p:nvPr/>
          </p:nvGrpSpPr>
          <p:grpSpPr>
            <a:xfrm>
              <a:off x="5270181" y="2703194"/>
              <a:ext cx="1653539" cy="1463041"/>
              <a:chOff x="5270181" y="2703194"/>
              <a:chExt cx="1653539" cy="1463041"/>
            </a:xfrm>
            <a:solidFill>
              <a:srgbClr val="FFFFFF"/>
            </a:solidFill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EE7098DC-5B17-3CF9-73DF-A5D8BEC4C113}"/>
                  </a:ext>
                </a:extLst>
              </p:cNvPr>
              <p:cNvSpPr/>
              <p:nvPr/>
            </p:nvSpPr>
            <p:spPr>
              <a:xfrm>
                <a:off x="5270181" y="2703194"/>
                <a:ext cx="1653539" cy="1197292"/>
              </a:xfrm>
              <a:custGeom>
                <a:avLst/>
                <a:gdLst>
                  <a:gd name="connsiteX0" fmla="*/ 1618298 w 1653539"/>
                  <a:gd name="connsiteY0" fmla="*/ 1197293 h 1197292"/>
                  <a:gd name="connsiteX1" fmla="*/ 35243 w 1653539"/>
                  <a:gd name="connsiteY1" fmla="*/ 1197293 h 1197292"/>
                  <a:gd name="connsiteX2" fmla="*/ 0 w 1653539"/>
                  <a:gd name="connsiteY2" fmla="*/ 1162050 h 1197292"/>
                  <a:gd name="connsiteX3" fmla="*/ 0 w 1653539"/>
                  <a:gd name="connsiteY3" fmla="*/ 35243 h 1197292"/>
                  <a:gd name="connsiteX4" fmla="*/ 35243 w 1653539"/>
                  <a:gd name="connsiteY4" fmla="*/ 0 h 1197292"/>
                  <a:gd name="connsiteX5" fmla="*/ 1618298 w 1653539"/>
                  <a:gd name="connsiteY5" fmla="*/ 0 h 1197292"/>
                  <a:gd name="connsiteX6" fmla="*/ 1653540 w 1653539"/>
                  <a:gd name="connsiteY6" fmla="*/ 35243 h 1197292"/>
                  <a:gd name="connsiteX7" fmla="*/ 1653540 w 1653539"/>
                  <a:gd name="connsiteY7" fmla="*/ 1162050 h 1197292"/>
                  <a:gd name="connsiteX8" fmla="*/ 1618298 w 1653539"/>
                  <a:gd name="connsiteY8" fmla="*/ 1197293 h 1197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3539" h="1197292">
                    <a:moveTo>
                      <a:pt x="1618298" y="1197293"/>
                    </a:moveTo>
                    <a:lnTo>
                      <a:pt x="35243" y="1197293"/>
                    </a:lnTo>
                    <a:cubicBezTo>
                      <a:pt x="15240" y="1197293"/>
                      <a:pt x="0" y="1181100"/>
                      <a:pt x="0" y="1162050"/>
                    </a:cubicBezTo>
                    <a:lnTo>
                      <a:pt x="0" y="35243"/>
                    </a:lnTo>
                    <a:cubicBezTo>
                      <a:pt x="0" y="15240"/>
                      <a:pt x="16193" y="0"/>
                      <a:pt x="35243" y="0"/>
                    </a:cubicBezTo>
                    <a:lnTo>
                      <a:pt x="1618298" y="0"/>
                    </a:lnTo>
                    <a:cubicBezTo>
                      <a:pt x="1638300" y="0"/>
                      <a:pt x="1653540" y="16193"/>
                      <a:pt x="1653540" y="35243"/>
                    </a:cubicBezTo>
                    <a:lnTo>
                      <a:pt x="1653540" y="1162050"/>
                    </a:lnTo>
                    <a:cubicBezTo>
                      <a:pt x="1653540" y="1181100"/>
                      <a:pt x="1637348" y="1197293"/>
                      <a:pt x="1618298" y="1197293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44839185-E648-52F8-3382-4F058518631C}"/>
                  </a:ext>
                </a:extLst>
              </p:cNvPr>
              <p:cNvSpPr/>
              <p:nvPr/>
            </p:nvSpPr>
            <p:spPr>
              <a:xfrm>
                <a:off x="5878829" y="3900487"/>
                <a:ext cx="439102" cy="257175"/>
              </a:xfrm>
              <a:custGeom>
                <a:avLst/>
                <a:gdLst>
                  <a:gd name="connsiteX0" fmla="*/ 0 w 439102"/>
                  <a:gd name="connsiteY0" fmla="*/ 0 h 257175"/>
                  <a:gd name="connsiteX1" fmla="*/ 439102 w 439102"/>
                  <a:gd name="connsiteY1" fmla="*/ 0 h 257175"/>
                  <a:gd name="connsiteX2" fmla="*/ 439102 w 439102"/>
                  <a:gd name="connsiteY2" fmla="*/ 257175 h 257175"/>
                  <a:gd name="connsiteX3" fmla="*/ 0 w 439102"/>
                  <a:gd name="connsiteY3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102" h="257175">
                    <a:moveTo>
                      <a:pt x="0" y="0"/>
                    </a:moveTo>
                    <a:lnTo>
                      <a:pt x="439102" y="0"/>
                    </a:lnTo>
                    <a:lnTo>
                      <a:pt x="439102" y="257175"/>
                    </a:lnTo>
                    <a:lnTo>
                      <a:pt x="0" y="257175"/>
                    </a:ln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237B62FD-C588-3CBE-1851-2C770E11E609}"/>
                  </a:ext>
                </a:extLst>
              </p:cNvPr>
              <p:cNvSpPr/>
              <p:nvPr/>
            </p:nvSpPr>
            <p:spPr>
              <a:xfrm>
                <a:off x="5654039" y="4156710"/>
                <a:ext cx="883920" cy="9525"/>
              </a:xfrm>
              <a:custGeom>
                <a:avLst/>
                <a:gdLst>
                  <a:gd name="connsiteX0" fmla="*/ 0 w 883920"/>
                  <a:gd name="connsiteY0" fmla="*/ 0 h 9525"/>
                  <a:gd name="connsiteX1" fmla="*/ 883920 w 88392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3920" h="9525">
                    <a:moveTo>
                      <a:pt x="0" y="0"/>
                    </a:moveTo>
                    <a:lnTo>
                      <a:pt x="883920" y="0"/>
                    </a:lnTo>
                  </a:path>
                </a:pathLst>
              </a:custGeom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F501B8DB-6C8E-0087-68C8-D41386F2CFA2}"/>
                </a:ext>
              </a:extLst>
            </p:cNvPr>
            <p:cNvSpPr/>
            <p:nvPr/>
          </p:nvSpPr>
          <p:spPr>
            <a:xfrm>
              <a:off x="5270182" y="3694747"/>
              <a:ext cx="1016317" cy="9525"/>
            </a:xfrm>
            <a:custGeom>
              <a:avLst/>
              <a:gdLst>
                <a:gd name="connsiteX0" fmla="*/ 0 w 1016317"/>
                <a:gd name="connsiteY0" fmla="*/ 0 h 9525"/>
                <a:gd name="connsiteX1" fmla="*/ 1016318 w 101631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317" h="9525">
                  <a:moveTo>
                    <a:pt x="0" y="0"/>
                  </a:moveTo>
                  <a:lnTo>
                    <a:pt x="1016318" y="0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345BBCB-2AD4-E2BF-11CB-1E9D73952848}"/>
                </a:ext>
              </a:extLst>
            </p:cNvPr>
            <p:cNvSpPr/>
            <p:nvPr/>
          </p:nvSpPr>
          <p:spPr>
            <a:xfrm>
              <a:off x="6547484" y="3697605"/>
              <a:ext cx="376237" cy="9525"/>
            </a:xfrm>
            <a:custGeom>
              <a:avLst/>
              <a:gdLst>
                <a:gd name="connsiteX0" fmla="*/ 0 w 376237"/>
                <a:gd name="connsiteY0" fmla="*/ 0 h 9525"/>
                <a:gd name="connsiteX1" fmla="*/ 376237 w 37623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237" h="9525">
                  <a:moveTo>
                    <a:pt x="0" y="0"/>
                  </a:moveTo>
                  <a:lnTo>
                    <a:pt x="376237" y="0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9EC1033-D0AA-93E4-0ACF-613A5157A0EE}"/>
              </a:ext>
            </a:extLst>
          </p:cNvPr>
          <p:cNvCxnSpPr>
            <a:cxnSpLocks/>
            <a:stCxn id="52" idx="0"/>
            <a:endCxn id="72" idx="4"/>
          </p:cNvCxnSpPr>
          <p:nvPr/>
        </p:nvCxnSpPr>
        <p:spPr>
          <a:xfrm>
            <a:off x="4949950" y="2331807"/>
            <a:ext cx="747810" cy="0"/>
          </a:xfrm>
          <a:prstGeom prst="line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7B1D545-BEAE-42FC-9647-165A570E4359}"/>
              </a:ext>
            </a:extLst>
          </p:cNvPr>
          <p:cNvCxnSpPr>
            <a:cxnSpLocks/>
          </p:cNvCxnSpPr>
          <p:nvPr/>
        </p:nvCxnSpPr>
        <p:spPr>
          <a:xfrm>
            <a:off x="6096000" y="2331807"/>
            <a:ext cx="0" cy="864432"/>
          </a:xfrm>
          <a:prstGeom prst="line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671322D5-960B-12F4-12F9-94A7FAC24950}"/>
              </a:ext>
            </a:extLst>
          </p:cNvPr>
          <p:cNvCxnSpPr>
            <a:cxnSpLocks/>
          </p:cNvCxnSpPr>
          <p:nvPr/>
        </p:nvCxnSpPr>
        <p:spPr>
          <a:xfrm rot="10800000" flipV="1">
            <a:off x="3180207" y="2863196"/>
            <a:ext cx="2915795" cy="428968"/>
          </a:xfrm>
          <a:prstGeom prst="bentConnector2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BD171568-F7CA-AF56-F40E-2A36557950A5}"/>
              </a:ext>
            </a:extLst>
          </p:cNvPr>
          <p:cNvCxnSpPr>
            <a:cxnSpLocks/>
            <a:endCxn id="42" idx="0"/>
          </p:cNvCxnSpPr>
          <p:nvPr/>
        </p:nvCxnSpPr>
        <p:spPr>
          <a:xfrm>
            <a:off x="6096001" y="2863196"/>
            <a:ext cx="2884607" cy="399834"/>
          </a:xfrm>
          <a:prstGeom prst="bentConnector2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71">
            <a:extLst>
              <a:ext uri="{FF2B5EF4-FFF2-40B4-BE49-F238E27FC236}">
                <a16:creationId xmlns:a16="http://schemas.microsoft.com/office/drawing/2014/main" id="{62157B2D-D2AA-7849-85DF-61B19807DD30}"/>
              </a:ext>
            </a:extLst>
          </p:cNvPr>
          <p:cNvSpPr/>
          <p:nvPr/>
        </p:nvSpPr>
        <p:spPr>
          <a:xfrm rot="5400000">
            <a:off x="5697760" y="1926281"/>
            <a:ext cx="811052" cy="811052"/>
          </a:xfrm>
          <a:prstGeom prst="ellipse">
            <a:avLst/>
          </a:prstGeom>
          <a:solidFill>
            <a:srgbClr val="F2F2F2"/>
          </a:solidFill>
          <a:ln w="25400"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431A6"/>
              </a:solidFill>
              <a:effectLst/>
              <a:uLnTx/>
              <a:uFillTx/>
              <a:latin typeface="Arial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73" name="Graphic 155">
            <a:extLst>
              <a:ext uri="{FF2B5EF4-FFF2-40B4-BE49-F238E27FC236}">
                <a16:creationId xmlns:a16="http://schemas.microsoft.com/office/drawing/2014/main" id="{E0C9241A-9D58-6037-1168-EAF0B7F24C25}"/>
              </a:ext>
            </a:extLst>
          </p:cNvPr>
          <p:cNvGrpSpPr/>
          <p:nvPr/>
        </p:nvGrpSpPr>
        <p:grpSpPr>
          <a:xfrm>
            <a:off x="5889022" y="2149327"/>
            <a:ext cx="421889" cy="373285"/>
            <a:chOff x="5270181" y="2703194"/>
            <a:chExt cx="1653540" cy="1463041"/>
          </a:xfrm>
          <a:solidFill>
            <a:srgbClr val="FFFFFF"/>
          </a:solidFill>
        </p:grpSpPr>
        <p:grpSp>
          <p:nvGrpSpPr>
            <p:cNvPr id="74" name="Graphic 155">
              <a:extLst>
                <a:ext uri="{FF2B5EF4-FFF2-40B4-BE49-F238E27FC236}">
                  <a16:creationId xmlns:a16="http://schemas.microsoft.com/office/drawing/2014/main" id="{61A25A49-AE28-4051-EBC5-4C6C17F9960B}"/>
                </a:ext>
              </a:extLst>
            </p:cNvPr>
            <p:cNvGrpSpPr/>
            <p:nvPr/>
          </p:nvGrpSpPr>
          <p:grpSpPr>
            <a:xfrm>
              <a:off x="5270181" y="2703194"/>
              <a:ext cx="1653539" cy="1463041"/>
              <a:chOff x="5270181" y="2703194"/>
              <a:chExt cx="1653539" cy="1463041"/>
            </a:xfrm>
            <a:solidFill>
              <a:srgbClr val="FFFFFF"/>
            </a:solidFill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F4A94BBF-6B76-9E24-B3A1-8076D2719D0B}"/>
                  </a:ext>
                </a:extLst>
              </p:cNvPr>
              <p:cNvSpPr/>
              <p:nvPr/>
            </p:nvSpPr>
            <p:spPr>
              <a:xfrm>
                <a:off x="5270181" y="2703194"/>
                <a:ext cx="1653539" cy="1197292"/>
              </a:xfrm>
              <a:custGeom>
                <a:avLst/>
                <a:gdLst>
                  <a:gd name="connsiteX0" fmla="*/ 1618298 w 1653539"/>
                  <a:gd name="connsiteY0" fmla="*/ 1197293 h 1197292"/>
                  <a:gd name="connsiteX1" fmla="*/ 35243 w 1653539"/>
                  <a:gd name="connsiteY1" fmla="*/ 1197293 h 1197292"/>
                  <a:gd name="connsiteX2" fmla="*/ 0 w 1653539"/>
                  <a:gd name="connsiteY2" fmla="*/ 1162050 h 1197292"/>
                  <a:gd name="connsiteX3" fmla="*/ 0 w 1653539"/>
                  <a:gd name="connsiteY3" fmla="*/ 35243 h 1197292"/>
                  <a:gd name="connsiteX4" fmla="*/ 35243 w 1653539"/>
                  <a:gd name="connsiteY4" fmla="*/ 0 h 1197292"/>
                  <a:gd name="connsiteX5" fmla="*/ 1618298 w 1653539"/>
                  <a:gd name="connsiteY5" fmla="*/ 0 h 1197292"/>
                  <a:gd name="connsiteX6" fmla="*/ 1653540 w 1653539"/>
                  <a:gd name="connsiteY6" fmla="*/ 35243 h 1197292"/>
                  <a:gd name="connsiteX7" fmla="*/ 1653540 w 1653539"/>
                  <a:gd name="connsiteY7" fmla="*/ 1162050 h 1197292"/>
                  <a:gd name="connsiteX8" fmla="*/ 1618298 w 1653539"/>
                  <a:gd name="connsiteY8" fmla="*/ 1197293 h 1197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3539" h="1197292">
                    <a:moveTo>
                      <a:pt x="1618298" y="1197293"/>
                    </a:moveTo>
                    <a:lnTo>
                      <a:pt x="35243" y="1197293"/>
                    </a:lnTo>
                    <a:cubicBezTo>
                      <a:pt x="15240" y="1197293"/>
                      <a:pt x="0" y="1181100"/>
                      <a:pt x="0" y="1162050"/>
                    </a:cubicBezTo>
                    <a:lnTo>
                      <a:pt x="0" y="35243"/>
                    </a:lnTo>
                    <a:cubicBezTo>
                      <a:pt x="0" y="15240"/>
                      <a:pt x="16193" y="0"/>
                      <a:pt x="35243" y="0"/>
                    </a:cubicBezTo>
                    <a:lnTo>
                      <a:pt x="1618298" y="0"/>
                    </a:lnTo>
                    <a:cubicBezTo>
                      <a:pt x="1638300" y="0"/>
                      <a:pt x="1653540" y="16193"/>
                      <a:pt x="1653540" y="35243"/>
                    </a:cubicBezTo>
                    <a:lnTo>
                      <a:pt x="1653540" y="1162050"/>
                    </a:lnTo>
                    <a:cubicBezTo>
                      <a:pt x="1653540" y="1181100"/>
                      <a:pt x="1637348" y="1197293"/>
                      <a:pt x="1618298" y="1197293"/>
                    </a:cubicBez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2D12F638-9B05-9A80-1AB7-CCB0CE2B7155}"/>
                  </a:ext>
                </a:extLst>
              </p:cNvPr>
              <p:cNvSpPr/>
              <p:nvPr/>
            </p:nvSpPr>
            <p:spPr>
              <a:xfrm>
                <a:off x="5878829" y="3900487"/>
                <a:ext cx="439102" cy="257175"/>
              </a:xfrm>
              <a:custGeom>
                <a:avLst/>
                <a:gdLst>
                  <a:gd name="connsiteX0" fmla="*/ 0 w 439102"/>
                  <a:gd name="connsiteY0" fmla="*/ 0 h 257175"/>
                  <a:gd name="connsiteX1" fmla="*/ 439102 w 439102"/>
                  <a:gd name="connsiteY1" fmla="*/ 0 h 257175"/>
                  <a:gd name="connsiteX2" fmla="*/ 439102 w 439102"/>
                  <a:gd name="connsiteY2" fmla="*/ 257175 h 257175"/>
                  <a:gd name="connsiteX3" fmla="*/ 0 w 439102"/>
                  <a:gd name="connsiteY3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102" h="257175">
                    <a:moveTo>
                      <a:pt x="0" y="0"/>
                    </a:moveTo>
                    <a:lnTo>
                      <a:pt x="439102" y="0"/>
                    </a:lnTo>
                    <a:lnTo>
                      <a:pt x="439102" y="257175"/>
                    </a:lnTo>
                    <a:lnTo>
                      <a:pt x="0" y="257175"/>
                    </a:lnTo>
                    <a:close/>
                  </a:path>
                </a:pathLst>
              </a:custGeom>
              <a:noFill/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AA6D9269-3C5E-0D25-D571-956A783BB54B}"/>
                  </a:ext>
                </a:extLst>
              </p:cNvPr>
              <p:cNvSpPr/>
              <p:nvPr/>
            </p:nvSpPr>
            <p:spPr>
              <a:xfrm>
                <a:off x="5654039" y="4156710"/>
                <a:ext cx="883920" cy="9525"/>
              </a:xfrm>
              <a:custGeom>
                <a:avLst/>
                <a:gdLst>
                  <a:gd name="connsiteX0" fmla="*/ 0 w 883920"/>
                  <a:gd name="connsiteY0" fmla="*/ 0 h 9525"/>
                  <a:gd name="connsiteX1" fmla="*/ 883920 w 88392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3920" h="9525">
                    <a:moveTo>
                      <a:pt x="0" y="0"/>
                    </a:moveTo>
                    <a:lnTo>
                      <a:pt x="883920" y="0"/>
                    </a:lnTo>
                  </a:path>
                </a:pathLst>
              </a:custGeom>
              <a:ln w="254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FC3668BC-98C0-0CD9-9027-023CCD625474}"/>
                </a:ext>
              </a:extLst>
            </p:cNvPr>
            <p:cNvSpPr/>
            <p:nvPr/>
          </p:nvSpPr>
          <p:spPr>
            <a:xfrm>
              <a:off x="5270182" y="3694747"/>
              <a:ext cx="1016317" cy="9525"/>
            </a:xfrm>
            <a:custGeom>
              <a:avLst/>
              <a:gdLst>
                <a:gd name="connsiteX0" fmla="*/ 0 w 1016317"/>
                <a:gd name="connsiteY0" fmla="*/ 0 h 9525"/>
                <a:gd name="connsiteX1" fmla="*/ 1016318 w 101631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6317" h="9525">
                  <a:moveTo>
                    <a:pt x="0" y="0"/>
                  </a:moveTo>
                  <a:lnTo>
                    <a:pt x="1016318" y="0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A52C5C1-9C2C-752B-0309-4B5096AA0279}"/>
                </a:ext>
              </a:extLst>
            </p:cNvPr>
            <p:cNvSpPr/>
            <p:nvPr/>
          </p:nvSpPr>
          <p:spPr>
            <a:xfrm>
              <a:off x="6547484" y="3697605"/>
              <a:ext cx="376237" cy="9525"/>
            </a:xfrm>
            <a:custGeom>
              <a:avLst/>
              <a:gdLst>
                <a:gd name="connsiteX0" fmla="*/ 0 w 376237"/>
                <a:gd name="connsiteY0" fmla="*/ 0 h 9525"/>
                <a:gd name="connsiteX1" fmla="*/ 376237 w 37623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237" h="9525">
                  <a:moveTo>
                    <a:pt x="0" y="0"/>
                  </a:moveTo>
                  <a:lnTo>
                    <a:pt x="376237" y="0"/>
                  </a:lnTo>
                </a:path>
              </a:pathLst>
            </a:custGeom>
            <a:ln w="2540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C7CBB46-E1B4-BACC-04CF-B3591039E535}"/>
              </a:ext>
            </a:extLst>
          </p:cNvPr>
          <p:cNvCxnSpPr>
            <a:cxnSpLocks/>
            <a:stCxn id="60" idx="4"/>
            <a:endCxn id="72" idx="0"/>
          </p:cNvCxnSpPr>
          <p:nvPr/>
        </p:nvCxnSpPr>
        <p:spPr>
          <a:xfrm flipH="1">
            <a:off x="6508813" y="2331807"/>
            <a:ext cx="747811" cy="0"/>
          </a:xfrm>
          <a:prstGeom prst="line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aphic 80">
            <a:extLst>
              <a:ext uri="{FF2B5EF4-FFF2-40B4-BE49-F238E27FC236}">
                <a16:creationId xmlns:a16="http://schemas.microsoft.com/office/drawing/2014/main" id="{A6ECDD97-E352-DDA8-6C13-6D14AD13B5C7}"/>
              </a:ext>
            </a:extLst>
          </p:cNvPr>
          <p:cNvGrpSpPr/>
          <p:nvPr/>
        </p:nvGrpSpPr>
        <p:grpSpPr>
          <a:xfrm>
            <a:off x="5587185" y="4041669"/>
            <a:ext cx="910413" cy="473338"/>
            <a:chOff x="4321592" y="3770624"/>
            <a:chExt cx="731793" cy="380471"/>
          </a:xfrm>
          <a:solidFill>
            <a:schemeClr val="accent1"/>
          </a:solidFill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D88FFC0-2515-962A-80FC-C4B1300F1F4E}"/>
                </a:ext>
              </a:extLst>
            </p:cNvPr>
            <p:cNvSpPr/>
            <p:nvPr/>
          </p:nvSpPr>
          <p:spPr>
            <a:xfrm>
              <a:off x="4544812" y="3984639"/>
              <a:ext cx="453343" cy="7670"/>
            </a:xfrm>
            <a:custGeom>
              <a:avLst/>
              <a:gdLst>
                <a:gd name="connsiteX0" fmla="*/ 453343 w 453343"/>
                <a:gd name="connsiteY0" fmla="*/ 0 h 7670"/>
                <a:gd name="connsiteX1" fmla="*/ 0 w 453343"/>
                <a:gd name="connsiteY1" fmla="*/ 0 h 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3343" h="7670">
                  <a:moveTo>
                    <a:pt x="453343" y="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rgbClr val="199049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7436064-4511-E5F5-EE1B-9988D392CF44}"/>
                </a:ext>
              </a:extLst>
            </p:cNvPr>
            <p:cNvSpPr/>
            <p:nvPr/>
          </p:nvSpPr>
          <p:spPr>
            <a:xfrm>
              <a:off x="4544812" y="3770624"/>
              <a:ext cx="508573" cy="320638"/>
            </a:xfrm>
            <a:custGeom>
              <a:avLst/>
              <a:gdLst>
                <a:gd name="connsiteX0" fmla="*/ 458713 w 508573"/>
                <a:gd name="connsiteY0" fmla="*/ 320639 h 320638"/>
                <a:gd name="connsiteX1" fmla="*/ 508573 w 508573"/>
                <a:gd name="connsiteY1" fmla="*/ 320639 h 320638"/>
                <a:gd name="connsiteX2" fmla="*/ 508573 w 508573"/>
                <a:gd name="connsiteY2" fmla="*/ 0 h 320638"/>
                <a:gd name="connsiteX3" fmla="*/ 0 w 508573"/>
                <a:gd name="connsiteY3" fmla="*/ 0 h 320638"/>
                <a:gd name="connsiteX4" fmla="*/ 0 w 508573"/>
                <a:gd name="connsiteY4" fmla="*/ 320639 h 320638"/>
                <a:gd name="connsiteX5" fmla="*/ 273847 w 508573"/>
                <a:gd name="connsiteY5" fmla="*/ 320639 h 32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8573" h="320638">
                  <a:moveTo>
                    <a:pt x="458713" y="320639"/>
                  </a:moveTo>
                  <a:lnTo>
                    <a:pt x="508573" y="320639"/>
                  </a:lnTo>
                  <a:lnTo>
                    <a:pt x="508573" y="0"/>
                  </a:lnTo>
                  <a:lnTo>
                    <a:pt x="0" y="0"/>
                  </a:lnTo>
                  <a:lnTo>
                    <a:pt x="0" y="320639"/>
                  </a:lnTo>
                  <a:lnTo>
                    <a:pt x="273847" y="320639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B26F9EF-5FCE-8E5C-AC6C-B8CE5BFC2EFB}"/>
                </a:ext>
              </a:extLst>
            </p:cNvPr>
            <p:cNvSpPr/>
            <p:nvPr/>
          </p:nvSpPr>
          <p:spPr>
            <a:xfrm>
              <a:off x="4597741" y="4036801"/>
              <a:ext cx="241629" cy="7670"/>
            </a:xfrm>
            <a:custGeom>
              <a:avLst/>
              <a:gdLst>
                <a:gd name="connsiteX0" fmla="*/ 241630 w 241629"/>
                <a:gd name="connsiteY0" fmla="*/ 0 h 7670"/>
                <a:gd name="connsiteX1" fmla="*/ 0 w 241629"/>
                <a:gd name="connsiteY1" fmla="*/ 0 h 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1629" h="7670">
                  <a:moveTo>
                    <a:pt x="241630" y="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rgbClr val="199049"/>
              </a:solidFill>
              <a:prstDash val="lgDash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7AFA2DF-EF48-D4E4-E8C8-85D63B8F364F}"/>
                </a:ext>
              </a:extLst>
            </p:cNvPr>
            <p:cNvSpPr/>
            <p:nvPr/>
          </p:nvSpPr>
          <p:spPr>
            <a:xfrm>
              <a:off x="4873122" y="4020692"/>
              <a:ext cx="130403" cy="130403"/>
            </a:xfrm>
            <a:custGeom>
              <a:avLst/>
              <a:gdLst>
                <a:gd name="connsiteX0" fmla="*/ 130403 w 130403"/>
                <a:gd name="connsiteY0" fmla="*/ 65202 h 130403"/>
                <a:gd name="connsiteX1" fmla="*/ 65202 w 130403"/>
                <a:gd name="connsiteY1" fmla="*/ 130403 h 130403"/>
                <a:gd name="connsiteX2" fmla="*/ 0 w 130403"/>
                <a:gd name="connsiteY2" fmla="*/ 65202 h 130403"/>
                <a:gd name="connsiteX3" fmla="*/ 65202 w 130403"/>
                <a:gd name="connsiteY3" fmla="*/ 0 h 130403"/>
                <a:gd name="connsiteX4" fmla="*/ 130403 w 130403"/>
                <a:gd name="connsiteY4" fmla="*/ 65202 h 13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03" h="130403">
                  <a:moveTo>
                    <a:pt x="130403" y="65202"/>
                  </a:moveTo>
                  <a:cubicBezTo>
                    <a:pt x="130403" y="101212"/>
                    <a:pt x="101212" y="130403"/>
                    <a:pt x="65202" y="130403"/>
                  </a:cubicBezTo>
                  <a:cubicBezTo>
                    <a:pt x="29192" y="130403"/>
                    <a:pt x="0" y="101212"/>
                    <a:pt x="0" y="65202"/>
                  </a:cubicBezTo>
                  <a:cubicBezTo>
                    <a:pt x="0" y="29192"/>
                    <a:pt x="29192" y="0"/>
                    <a:pt x="65202" y="0"/>
                  </a:cubicBezTo>
                  <a:cubicBezTo>
                    <a:pt x="101212" y="0"/>
                    <a:pt x="130403" y="29192"/>
                    <a:pt x="130403" y="65202"/>
                  </a:cubicBezTo>
                  <a:close/>
                </a:path>
              </a:pathLst>
            </a:custGeom>
            <a:solidFill>
              <a:srgbClr val="BFDCEC"/>
            </a:solidFill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D058394-C588-6E02-7DE4-F852D0CF94C3}"/>
                </a:ext>
              </a:extLst>
            </p:cNvPr>
            <p:cNvSpPr/>
            <p:nvPr/>
          </p:nvSpPr>
          <p:spPr>
            <a:xfrm>
              <a:off x="4321592" y="3829690"/>
              <a:ext cx="223219" cy="261573"/>
            </a:xfrm>
            <a:custGeom>
              <a:avLst/>
              <a:gdLst>
                <a:gd name="connsiteX0" fmla="*/ 46792 w 223219"/>
                <a:gd name="connsiteY0" fmla="*/ 261574 h 261573"/>
                <a:gd name="connsiteX1" fmla="*/ 0 w 223219"/>
                <a:gd name="connsiteY1" fmla="*/ 261574 h 261573"/>
                <a:gd name="connsiteX2" fmla="*/ 0 w 223219"/>
                <a:gd name="connsiteY2" fmla="*/ 122733 h 261573"/>
                <a:gd name="connsiteX3" fmla="*/ 34519 w 223219"/>
                <a:gd name="connsiteY3" fmla="*/ 0 h 261573"/>
                <a:gd name="connsiteX4" fmla="*/ 34519 w 223219"/>
                <a:gd name="connsiteY4" fmla="*/ 0 h 261573"/>
                <a:gd name="connsiteX5" fmla="*/ 223220 w 223219"/>
                <a:gd name="connsiteY5" fmla="*/ 0 h 2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219" h="261573">
                  <a:moveTo>
                    <a:pt x="46792" y="261574"/>
                  </a:moveTo>
                  <a:lnTo>
                    <a:pt x="0" y="261574"/>
                  </a:lnTo>
                  <a:lnTo>
                    <a:pt x="0" y="122733"/>
                  </a:lnTo>
                  <a:lnTo>
                    <a:pt x="34519" y="0"/>
                  </a:lnTo>
                  <a:lnTo>
                    <a:pt x="34519" y="0"/>
                  </a:lnTo>
                  <a:lnTo>
                    <a:pt x="223220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BAD0F943-83C4-4E01-22BA-1165ED4B9FDD}"/>
                </a:ext>
              </a:extLst>
            </p:cNvPr>
            <p:cNvSpPr/>
            <p:nvPr/>
          </p:nvSpPr>
          <p:spPr>
            <a:xfrm>
              <a:off x="4321592" y="3829690"/>
              <a:ext cx="111993" cy="124266"/>
            </a:xfrm>
            <a:custGeom>
              <a:avLst/>
              <a:gdLst>
                <a:gd name="connsiteX0" fmla="*/ 0 w 111993"/>
                <a:gd name="connsiteY0" fmla="*/ 124267 h 124266"/>
                <a:gd name="connsiteX1" fmla="*/ 111993 w 111993"/>
                <a:gd name="connsiteY1" fmla="*/ 124267 h 124266"/>
                <a:gd name="connsiteX2" fmla="*/ 111993 w 111993"/>
                <a:gd name="connsiteY2" fmla="*/ 0 h 124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993" h="124266">
                  <a:moveTo>
                    <a:pt x="0" y="124267"/>
                  </a:moveTo>
                  <a:lnTo>
                    <a:pt x="111993" y="124267"/>
                  </a:lnTo>
                  <a:lnTo>
                    <a:pt x="111993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B71D2E7D-34C2-290B-79E0-5F313AA82129}"/>
                </a:ext>
              </a:extLst>
            </p:cNvPr>
            <p:cNvSpPr/>
            <p:nvPr/>
          </p:nvSpPr>
          <p:spPr>
            <a:xfrm>
              <a:off x="4368384" y="4020692"/>
              <a:ext cx="130403" cy="130403"/>
            </a:xfrm>
            <a:custGeom>
              <a:avLst/>
              <a:gdLst>
                <a:gd name="connsiteX0" fmla="*/ 130403 w 130403"/>
                <a:gd name="connsiteY0" fmla="*/ 65202 h 130403"/>
                <a:gd name="connsiteX1" fmla="*/ 65202 w 130403"/>
                <a:gd name="connsiteY1" fmla="*/ 130403 h 130403"/>
                <a:gd name="connsiteX2" fmla="*/ 0 w 130403"/>
                <a:gd name="connsiteY2" fmla="*/ 65202 h 130403"/>
                <a:gd name="connsiteX3" fmla="*/ 65202 w 130403"/>
                <a:gd name="connsiteY3" fmla="*/ 0 h 130403"/>
                <a:gd name="connsiteX4" fmla="*/ 130403 w 130403"/>
                <a:gd name="connsiteY4" fmla="*/ 65202 h 130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403" h="130403">
                  <a:moveTo>
                    <a:pt x="130403" y="65202"/>
                  </a:moveTo>
                  <a:cubicBezTo>
                    <a:pt x="130403" y="101212"/>
                    <a:pt x="101212" y="130403"/>
                    <a:pt x="65202" y="130403"/>
                  </a:cubicBezTo>
                  <a:cubicBezTo>
                    <a:pt x="29192" y="130403"/>
                    <a:pt x="0" y="101212"/>
                    <a:pt x="0" y="65202"/>
                  </a:cubicBezTo>
                  <a:cubicBezTo>
                    <a:pt x="0" y="29192"/>
                    <a:pt x="29192" y="0"/>
                    <a:pt x="65202" y="0"/>
                  </a:cubicBezTo>
                  <a:cubicBezTo>
                    <a:pt x="101212" y="0"/>
                    <a:pt x="130403" y="29192"/>
                    <a:pt x="130403" y="65202"/>
                  </a:cubicBezTo>
                  <a:close/>
                </a:path>
              </a:pathLst>
            </a:custGeom>
            <a:solidFill>
              <a:srgbClr val="BFDCEC"/>
            </a:solidFill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04C3709-B416-7F04-0D17-96AB7DBCE276}"/>
                </a:ext>
              </a:extLst>
            </p:cNvPr>
            <p:cNvSpPr/>
            <p:nvPr/>
          </p:nvSpPr>
          <p:spPr>
            <a:xfrm>
              <a:off x="4498788" y="4091263"/>
              <a:ext cx="46024" cy="7670"/>
            </a:xfrm>
            <a:custGeom>
              <a:avLst/>
              <a:gdLst>
                <a:gd name="connsiteX0" fmla="*/ 0 w 46024"/>
                <a:gd name="connsiteY0" fmla="*/ 0 h 7670"/>
                <a:gd name="connsiteX1" fmla="*/ 46025 w 46024"/>
                <a:gd name="connsiteY1" fmla="*/ 0 h 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024" h="7670">
                  <a:moveTo>
                    <a:pt x="0" y="0"/>
                  </a:moveTo>
                  <a:lnTo>
                    <a:pt x="46025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BF480AEF-6F87-0919-B142-4BA3B9BD7CBB}"/>
              </a:ext>
            </a:extLst>
          </p:cNvPr>
          <p:cNvSpPr>
            <a:spLocks/>
          </p:cNvSpPr>
          <p:nvPr/>
        </p:nvSpPr>
        <p:spPr>
          <a:xfrm>
            <a:off x="1204006" y="5446389"/>
            <a:ext cx="9783988" cy="310274"/>
          </a:xfrm>
          <a:prstGeom prst="rect">
            <a:avLst/>
          </a:prstGeom>
          <a:solidFill>
            <a:srgbClr val="BFD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F143801-0C9C-E9A1-6771-B98A3BF5910F}"/>
              </a:ext>
            </a:extLst>
          </p:cNvPr>
          <p:cNvSpPr txBox="1">
            <a:spLocks/>
          </p:cNvSpPr>
          <p:nvPr/>
        </p:nvSpPr>
        <p:spPr>
          <a:xfrm>
            <a:off x="2646876" y="5479162"/>
            <a:ext cx="689824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CRM and ERP systems,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platform and digital service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2FDB95C-73C2-EC02-84FD-B1F646A7A563}"/>
              </a:ext>
            </a:extLst>
          </p:cNvPr>
          <p:cNvSpPr>
            <a:spLocks/>
          </p:cNvSpPr>
          <p:nvPr/>
        </p:nvSpPr>
        <p:spPr>
          <a:xfrm>
            <a:off x="1204006" y="5857890"/>
            <a:ext cx="9783988" cy="301343"/>
          </a:xfrm>
          <a:prstGeom prst="rect">
            <a:avLst/>
          </a:prstGeom>
          <a:solidFill>
            <a:srgbClr val="0431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	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95CB63E-6344-F588-9490-D130CC16D24F}"/>
              </a:ext>
            </a:extLst>
          </p:cNvPr>
          <p:cNvSpPr txBox="1">
            <a:spLocks/>
          </p:cNvSpPr>
          <p:nvPr/>
        </p:nvSpPr>
        <p:spPr>
          <a:xfrm>
            <a:off x="1204006" y="5917904"/>
            <a:ext cx="978398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 integration platform and global master data management</a:t>
            </a: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627762E1-8D19-2BEB-372A-C49F2C3EA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8304" y="2240461"/>
            <a:ext cx="260006" cy="78930"/>
          </a:xfrm>
          <a:prstGeom prst="rect">
            <a:avLst/>
          </a:prstGeom>
        </p:spPr>
      </p:pic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96DC4F0-FE74-ADE5-3D65-F904439B2673}"/>
              </a:ext>
            </a:extLst>
          </p:cNvPr>
          <p:cNvGrpSpPr>
            <a:grpSpLocks noChangeAspect="1"/>
          </p:cNvGrpSpPr>
          <p:nvPr/>
        </p:nvGrpSpPr>
        <p:grpSpPr>
          <a:xfrm>
            <a:off x="2581034" y="3800654"/>
            <a:ext cx="1129576" cy="846000"/>
            <a:chOff x="1190324" y="2019156"/>
            <a:chExt cx="865938" cy="600687"/>
          </a:xfrm>
        </p:grpSpPr>
        <p:grpSp>
          <p:nvGrpSpPr>
            <p:cNvPr id="134" name="Graphic 791">
              <a:extLst>
                <a:ext uri="{FF2B5EF4-FFF2-40B4-BE49-F238E27FC236}">
                  <a16:creationId xmlns:a16="http://schemas.microsoft.com/office/drawing/2014/main" id="{E0A7B813-7B08-5B6C-7F1F-63EFD95FBD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86999" y="2233622"/>
              <a:ext cx="469263" cy="386221"/>
              <a:chOff x="1272245" y="4931430"/>
              <a:chExt cx="891568" cy="733794"/>
            </a:xfrm>
            <a:noFill/>
          </p:grpSpPr>
          <p:grpSp>
            <p:nvGrpSpPr>
              <p:cNvPr id="149" name="Graphic 791">
                <a:extLst>
                  <a:ext uri="{FF2B5EF4-FFF2-40B4-BE49-F238E27FC236}">
                    <a16:creationId xmlns:a16="http://schemas.microsoft.com/office/drawing/2014/main" id="{8D952A5B-7C9E-44A5-4FF4-9E31E0030B67}"/>
                  </a:ext>
                </a:extLst>
              </p:cNvPr>
              <p:cNvGrpSpPr/>
              <p:nvPr/>
            </p:nvGrpSpPr>
            <p:grpSpPr>
              <a:xfrm>
                <a:off x="1544627" y="4967152"/>
                <a:ext cx="267916" cy="163727"/>
                <a:chOff x="1544627" y="4967152"/>
                <a:chExt cx="267916" cy="163727"/>
              </a:xfrm>
              <a:noFill/>
            </p:grpSpPr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D62FC053-9BD0-3343-AFA4-5CAEBA46662C}"/>
                    </a:ext>
                  </a:extLst>
                </p:cNvPr>
                <p:cNvSpPr/>
                <p:nvPr/>
              </p:nvSpPr>
              <p:spPr>
                <a:xfrm>
                  <a:off x="1544627" y="4967152"/>
                  <a:ext cx="267916" cy="163727"/>
                </a:xfrm>
                <a:custGeom>
                  <a:avLst/>
                  <a:gdLst>
                    <a:gd name="connsiteX0" fmla="*/ 0 w 267916"/>
                    <a:gd name="connsiteY0" fmla="*/ 0 h 163727"/>
                    <a:gd name="connsiteX1" fmla="*/ 267917 w 267916"/>
                    <a:gd name="connsiteY1" fmla="*/ 0 h 163727"/>
                    <a:gd name="connsiteX2" fmla="*/ 267917 w 267916"/>
                    <a:gd name="connsiteY2" fmla="*/ 163727 h 163727"/>
                    <a:gd name="connsiteX3" fmla="*/ 0 w 267916"/>
                    <a:gd name="connsiteY3" fmla="*/ 163727 h 163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7916" h="163727">
                      <a:moveTo>
                        <a:pt x="0" y="0"/>
                      </a:moveTo>
                      <a:lnTo>
                        <a:pt x="267917" y="0"/>
                      </a:lnTo>
                      <a:lnTo>
                        <a:pt x="267917" y="163727"/>
                      </a:lnTo>
                      <a:lnTo>
                        <a:pt x="0" y="163727"/>
                      </a:lnTo>
                      <a:close/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50FEEF6F-20B0-EA72-305C-37887246994E}"/>
                    </a:ext>
                  </a:extLst>
                </p:cNvPr>
                <p:cNvSpPr/>
                <p:nvPr/>
              </p:nvSpPr>
              <p:spPr>
                <a:xfrm>
                  <a:off x="1678585" y="5034131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A9689414-4EC7-3633-F74D-3836F95363F5}"/>
                    </a:ext>
                  </a:extLst>
                </p:cNvPr>
                <p:cNvSpPr/>
                <p:nvPr/>
              </p:nvSpPr>
              <p:spPr>
                <a:xfrm>
                  <a:off x="1619048" y="5034131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6779C864-68E2-11EB-CC8D-74936D413CF3}"/>
                    </a:ext>
                  </a:extLst>
                </p:cNvPr>
                <p:cNvSpPr/>
                <p:nvPr/>
              </p:nvSpPr>
              <p:spPr>
                <a:xfrm>
                  <a:off x="1738123" y="5034131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0" name="Graphic 791">
                <a:extLst>
                  <a:ext uri="{FF2B5EF4-FFF2-40B4-BE49-F238E27FC236}">
                    <a16:creationId xmlns:a16="http://schemas.microsoft.com/office/drawing/2014/main" id="{72FA3AC3-CFD3-2F55-1A1A-40BC0892B985}"/>
                  </a:ext>
                </a:extLst>
              </p:cNvPr>
              <p:cNvGrpSpPr/>
              <p:nvPr/>
            </p:nvGrpSpPr>
            <p:grpSpPr>
              <a:xfrm>
                <a:off x="1407692" y="5130879"/>
                <a:ext cx="267916" cy="163727"/>
                <a:chOff x="1407692" y="5130879"/>
                <a:chExt cx="267916" cy="163727"/>
              </a:xfrm>
              <a:noFill/>
            </p:grpSpPr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5DBCFE3C-29FD-E869-69FD-1CDBE3E3F6F3}"/>
                    </a:ext>
                  </a:extLst>
                </p:cNvPr>
                <p:cNvSpPr/>
                <p:nvPr/>
              </p:nvSpPr>
              <p:spPr>
                <a:xfrm>
                  <a:off x="1407692" y="5130879"/>
                  <a:ext cx="267916" cy="163727"/>
                </a:xfrm>
                <a:custGeom>
                  <a:avLst/>
                  <a:gdLst>
                    <a:gd name="connsiteX0" fmla="*/ 0 w 267916"/>
                    <a:gd name="connsiteY0" fmla="*/ 0 h 163727"/>
                    <a:gd name="connsiteX1" fmla="*/ 267917 w 267916"/>
                    <a:gd name="connsiteY1" fmla="*/ 0 h 163727"/>
                    <a:gd name="connsiteX2" fmla="*/ 267917 w 267916"/>
                    <a:gd name="connsiteY2" fmla="*/ 163727 h 163727"/>
                    <a:gd name="connsiteX3" fmla="*/ 0 w 267916"/>
                    <a:gd name="connsiteY3" fmla="*/ 163727 h 163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7916" h="163727">
                      <a:moveTo>
                        <a:pt x="0" y="0"/>
                      </a:moveTo>
                      <a:lnTo>
                        <a:pt x="267917" y="0"/>
                      </a:lnTo>
                      <a:lnTo>
                        <a:pt x="267917" y="163727"/>
                      </a:lnTo>
                      <a:lnTo>
                        <a:pt x="0" y="163727"/>
                      </a:lnTo>
                      <a:close/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E505379D-BAF5-245B-AEED-C8C5B091B9E6}"/>
                    </a:ext>
                  </a:extLst>
                </p:cNvPr>
                <p:cNvSpPr/>
                <p:nvPr/>
              </p:nvSpPr>
              <p:spPr>
                <a:xfrm>
                  <a:off x="1541650" y="5197858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80067EBB-7157-AF63-9BF5-B960A7C93C96}"/>
                    </a:ext>
                  </a:extLst>
                </p:cNvPr>
                <p:cNvSpPr/>
                <p:nvPr/>
              </p:nvSpPr>
              <p:spPr>
                <a:xfrm>
                  <a:off x="1482113" y="5197858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FB585438-6DBA-DD0A-A2CA-81AA74AF7C62}"/>
                    </a:ext>
                  </a:extLst>
                </p:cNvPr>
                <p:cNvSpPr/>
                <p:nvPr/>
              </p:nvSpPr>
              <p:spPr>
                <a:xfrm>
                  <a:off x="1602676" y="5197858"/>
                  <a:ext cx="14884" cy="41675"/>
                </a:xfrm>
                <a:custGeom>
                  <a:avLst/>
                  <a:gdLst>
                    <a:gd name="connsiteX0" fmla="*/ 0 w 14884"/>
                    <a:gd name="connsiteY0" fmla="*/ 0 h 41675"/>
                    <a:gd name="connsiteX1" fmla="*/ 0 w 14884"/>
                    <a:gd name="connsiteY1" fmla="*/ 41676 h 4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41675">
                      <a:moveTo>
                        <a:pt x="0" y="0"/>
                      </a:moveTo>
                      <a:lnTo>
                        <a:pt x="0" y="41676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1" name="Graphic 791">
                <a:extLst>
                  <a:ext uri="{FF2B5EF4-FFF2-40B4-BE49-F238E27FC236}">
                    <a16:creationId xmlns:a16="http://schemas.microsoft.com/office/drawing/2014/main" id="{084BF02F-E97E-869D-1120-5FC6D5B9FAC5}"/>
                  </a:ext>
                </a:extLst>
              </p:cNvPr>
              <p:cNvGrpSpPr/>
              <p:nvPr/>
            </p:nvGrpSpPr>
            <p:grpSpPr>
              <a:xfrm>
                <a:off x="1675609" y="5130879"/>
                <a:ext cx="269405" cy="193495"/>
                <a:chOff x="1675609" y="5130879"/>
                <a:chExt cx="269405" cy="193495"/>
              </a:xfrm>
              <a:noFill/>
            </p:grpSpPr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CF7EDD5F-5CC4-F0AA-D2CE-8F409018F408}"/>
                    </a:ext>
                  </a:extLst>
                </p:cNvPr>
                <p:cNvSpPr/>
                <p:nvPr/>
              </p:nvSpPr>
              <p:spPr>
                <a:xfrm>
                  <a:off x="1675609" y="5130879"/>
                  <a:ext cx="269405" cy="193495"/>
                </a:xfrm>
                <a:custGeom>
                  <a:avLst/>
                  <a:gdLst>
                    <a:gd name="connsiteX0" fmla="*/ 0 w 269405"/>
                    <a:gd name="connsiteY0" fmla="*/ 174146 h 193495"/>
                    <a:gd name="connsiteX1" fmla="*/ 0 w 269405"/>
                    <a:gd name="connsiteY1" fmla="*/ 0 h 193495"/>
                    <a:gd name="connsiteX2" fmla="*/ 269405 w 269405"/>
                    <a:gd name="connsiteY2" fmla="*/ 0 h 193495"/>
                    <a:gd name="connsiteX3" fmla="*/ 269405 w 269405"/>
                    <a:gd name="connsiteY3" fmla="*/ 193496 h 1934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9405" h="193495">
                      <a:moveTo>
                        <a:pt x="0" y="174146"/>
                      </a:moveTo>
                      <a:lnTo>
                        <a:pt x="0" y="0"/>
                      </a:lnTo>
                      <a:lnTo>
                        <a:pt x="269405" y="0"/>
                      </a:lnTo>
                      <a:lnTo>
                        <a:pt x="269405" y="193496"/>
                      </a:lnTo>
                    </a:path>
                  </a:pathLst>
                </a:custGeom>
                <a:noFill/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114DF671-9EBD-0E9A-3B0B-3B822566A4E6}"/>
                    </a:ext>
                  </a:extLst>
                </p:cNvPr>
                <p:cNvSpPr/>
                <p:nvPr/>
              </p:nvSpPr>
              <p:spPr>
                <a:xfrm>
                  <a:off x="1809567" y="5197858"/>
                  <a:ext cx="14884" cy="64002"/>
                </a:xfrm>
                <a:custGeom>
                  <a:avLst/>
                  <a:gdLst>
                    <a:gd name="connsiteX0" fmla="*/ 0 w 14884"/>
                    <a:gd name="connsiteY0" fmla="*/ 0 h 64002"/>
                    <a:gd name="connsiteX1" fmla="*/ 0 w 14884"/>
                    <a:gd name="connsiteY1" fmla="*/ 64002 h 6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64002">
                      <a:moveTo>
                        <a:pt x="0" y="0"/>
                      </a:moveTo>
                      <a:lnTo>
                        <a:pt x="0" y="64002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E0551973-3EAE-08F1-5B9D-657F416DEC5E}"/>
                    </a:ext>
                  </a:extLst>
                </p:cNvPr>
                <p:cNvSpPr/>
                <p:nvPr/>
              </p:nvSpPr>
              <p:spPr>
                <a:xfrm>
                  <a:off x="1750030" y="5197858"/>
                  <a:ext cx="14884" cy="64002"/>
                </a:xfrm>
                <a:custGeom>
                  <a:avLst/>
                  <a:gdLst>
                    <a:gd name="connsiteX0" fmla="*/ 0 w 14884"/>
                    <a:gd name="connsiteY0" fmla="*/ 0 h 64002"/>
                    <a:gd name="connsiteX1" fmla="*/ 0 w 14884"/>
                    <a:gd name="connsiteY1" fmla="*/ 64002 h 6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64002">
                      <a:moveTo>
                        <a:pt x="0" y="0"/>
                      </a:moveTo>
                      <a:lnTo>
                        <a:pt x="0" y="64002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420D27B1-7BF1-1B8D-65E4-0373FEC923DF}"/>
                    </a:ext>
                  </a:extLst>
                </p:cNvPr>
                <p:cNvSpPr/>
                <p:nvPr/>
              </p:nvSpPr>
              <p:spPr>
                <a:xfrm>
                  <a:off x="1870593" y="5197858"/>
                  <a:ext cx="14884" cy="64002"/>
                </a:xfrm>
                <a:custGeom>
                  <a:avLst/>
                  <a:gdLst>
                    <a:gd name="connsiteX0" fmla="*/ 0 w 14884"/>
                    <a:gd name="connsiteY0" fmla="*/ 0 h 64002"/>
                    <a:gd name="connsiteX1" fmla="*/ 0 w 14884"/>
                    <a:gd name="connsiteY1" fmla="*/ 64002 h 64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884" h="64002">
                      <a:moveTo>
                        <a:pt x="0" y="0"/>
                      </a:moveTo>
                      <a:lnTo>
                        <a:pt x="0" y="64002"/>
                      </a:lnTo>
                    </a:path>
                  </a:pathLst>
                </a:custGeom>
                <a:ln w="12700" cap="rnd">
                  <a:solidFill>
                    <a:schemeClr val="tx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49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0C97E1A7-6AC1-F9BB-8C15-63FF3C45A2A2}"/>
                  </a:ext>
                </a:extLst>
              </p:cNvPr>
              <p:cNvSpPr/>
              <p:nvPr/>
            </p:nvSpPr>
            <p:spPr>
              <a:xfrm>
                <a:off x="1907803" y="5066877"/>
                <a:ext cx="217310" cy="263451"/>
              </a:xfrm>
              <a:custGeom>
                <a:avLst/>
                <a:gdLst>
                  <a:gd name="connsiteX0" fmla="*/ 0 w 217310"/>
                  <a:gd name="connsiteY0" fmla="*/ 0 h 263451"/>
                  <a:gd name="connsiteX1" fmla="*/ 181588 w 217310"/>
                  <a:gd name="connsiteY1" fmla="*/ 0 h 263451"/>
                  <a:gd name="connsiteX2" fmla="*/ 181588 w 217310"/>
                  <a:gd name="connsiteY2" fmla="*/ 81864 h 263451"/>
                  <a:gd name="connsiteX3" fmla="*/ 217310 w 217310"/>
                  <a:gd name="connsiteY3" fmla="*/ 81864 h 263451"/>
                  <a:gd name="connsiteX4" fmla="*/ 217310 w 217310"/>
                  <a:gd name="connsiteY4" fmla="*/ 151820 h 263451"/>
                  <a:gd name="connsiteX5" fmla="*/ 181588 w 217310"/>
                  <a:gd name="connsiteY5" fmla="*/ 151820 h 263451"/>
                  <a:gd name="connsiteX6" fmla="*/ 181588 w 217310"/>
                  <a:gd name="connsiteY6" fmla="*/ 263452 h 263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7310" h="263451">
                    <a:moveTo>
                      <a:pt x="0" y="0"/>
                    </a:moveTo>
                    <a:lnTo>
                      <a:pt x="181588" y="0"/>
                    </a:lnTo>
                    <a:lnTo>
                      <a:pt x="181588" y="81864"/>
                    </a:lnTo>
                    <a:lnTo>
                      <a:pt x="217310" y="81864"/>
                    </a:lnTo>
                    <a:lnTo>
                      <a:pt x="217310" y="151820"/>
                    </a:lnTo>
                    <a:lnTo>
                      <a:pt x="181588" y="151820"/>
                    </a:lnTo>
                    <a:lnTo>
                      <a:pt x="181588" y="263452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B17FB6C1-28F1-E7C8-9577-856C0EFCFD08}"/>
                  </a:ext>
                </a:extLst>
              </p:cNvPr>
              <p:cNvSpPr/>
              <p:nvPr/>
            </p:nvSpPr>
            <p:spPr>
              <a:xfrm>
                <a:off x="2047715" y="4931430"/>
                <a:ext cx="14884" cy="126516"/>
              </a:xfrm>
              <a:custGeom>
                <a:avLst/>
                <a:gdLst>
                  <a:gd name="connsiteX0" fmla="*/ 0 w 14884"/>
                  <a:gd name="connsiteY0" fmla="*/ 0 h 126516"/>
                  <a:gd name="connsiteX1" fmla="*/ 0 w 14884"/>
                  <a:gd name="connsiteY1" fmla="*/ 126516 h 126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84" h="126516">
                    <a:moveTo>
                      <a:pt x="0" y="0"/>
                    </a:moveTo>
                    <a:lnTo>
                      <a:pt x="0" y="126516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B42417D1-EC5C-0EDF-757D-801C030B165B}"/>
                  </a:ext>
                </a:extLst>
              </p:cNvPr>
              <p:cNvSpPr/>
              <p:nvPr/>
            </p:nvSpPr>
            <p:spPr>
              <a:xfrm>
                <a:off x="1986690" y="5004363"/>
                <a:ext cx="14884" cy="53583"/>
              </a:xfrm>
              <a:custGeom>
                <a:avLst/>
                <a:gdLst>
                  <a:gd name="connsiteX0" fmla="*/ 0 w 14884"/>
                  <a:gd name="connsiteY0" fmla="*/ 0 h 53583"/>
                  <a:gd name="connsiteX1" fmla="*/ 0 w 14884"/>
                  <a:gd name="connsiteY1" fmla="*/ 53583 h 53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884" h="53583">
                    <a:moveTo>
                      <a:pt x="0" y="0"/>
                    </a:moveTo>
                    <a:lnTo>
                      <a:pt x="0" y="5358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BB28F899-5898-71BD-8155-2BDE0790A417}"/>
                  </a:ext>
                </a:extLst>
              </p:cNvPr>
              <p:cNvSpPr/>
              <p:nvPr/>
            </p:nvSpPr>
            <p:spPr>
              <a:xfrm>
                <a:off x="1327317" y="5293118"/>
                <a:ext cx="797797" cy="214333"/>
              </a:xfrm>
              <a:custGeom>
                <a:avLst/>
                <a:gdLst>
                  <a:gd name="connsiteX0" fmla="*/ 138424 w 797797"/>
                  <a:gd name="connsiteY0" fmla="*/ 214334 h 214333"/>
                  <a:gd name="connsiteX1" fmla="*/ 0 w 797797"/>
                  <a:gd name="connsiteY1" fmla="*/ 0 h 214333"/>
                  <a:gd name="connsiteX2" fmla="*/ 324477 w 797797"/>
                  <a:gd name="connsiteY2" fmla="*/ 0 h 214333"/>
                  <a:gd name="connsiteX3" fmla="*/ 409318 w 797797"/>
                  <a:gd name="connsiteY3" fmla="*/ 35722 h 214333"/>
                  <a:gd name="connsiteX4" fmla="*/ 797797 w 797797"/>
                  <a:gd name="connsiteY4" fmla="*/ 35722 h 214333"/>
                  <a:gd name="connsiteX5" fmla="*/ 797797 w 797797"/>
                  <a:gd name="connsiteY5" fmla="*/ 144377 h 214333"/>
                  <a:gd name="connsiteX6" fmla="*/ 787378 w 797797"/>
                  <a:gd name="connsiteY6" fmla="*/ 200938 h 21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7797" h="214333">
                    <a:moveTo>
                      <a:pt x="138424" y="214334"/>
                    </a:moveTo>
                    <a:cubicBezTo>
                      <a:pt x="138424" y="110144"/>
                      <a:pt x="0" y="110144"/>
                      <a:pt x="0" y="0"/>
                    </a:cubicBezTo>
                    <a:lnTo>
                      <a:pt x="324477" y="0"/>
                    </a:lnTo>
                    <a:lnTo>
                      <a:pt x="409318" y="35722"/>
                    </a:lnTo>
                    <a:cubicBezTo>
                      <a:pt x="409318" y="35722"/>
                      <a:pt x="744214" y="35722"/>
                      <a:pt x="797797" y="35722"/>
                    </a:cubicBezTo>
                    <a:lnTo>
                      <a:pt x="797797" y="144377"/>
                    </a:lnTo>
                    <a:cubicBezTo>
                      <a:pt x="797797" y="171169"/>
                      <a:pt x="796309" y="187542"/>
                      <a:pt x="787378" y="200938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921937EE-411A-DE0F-92DC-138A6D1FD41B}"/>
                  </a:ext>
                </a:extLst>
              </p:cNvPr>
              <p:cNvSpPr/>
              <p:nvPr/>
            </p:nvSpPr>
            <p:spPr>
              <a:xfrm>
                <a:off x="1430018" y="5476669"/>
                <a:ext cx="733794" cy="57574"/>
              </a:xfrm>
              <a:custGeom>
                <a:avLst/>
                <a:gdLst>
                  <a:gd name="connsiteX0" fmla="*/ 0 w 733794"/>
                  <a:gd name="connsiteY0" fmla="*/ 57574 h 57574"/>
                  <a:gd name="connsiteX1" fmla="*/ 59537 w 733794"/>
                  <a:gd name="connsiteY1" fmla="*/ 9944 h 57574"/>
                  <a:gd name="connsiteX2" fmla="*/ 102701 w 733794"/>
                  <a:gd name="connsiteY2" fmla="*/ 12921 h 57574"/>
                  <a:gd name="connsiteX3" fmla="*/ 125028 w 733794"/>
                  <a:gd name="connsiteY3" fmla="*/ 35248 h 57574"/>
                  <a:gd name="connsiteX4" fmla="*/ 169681 w 733794"/>
                  <a:gd name="connsiteY4" fmla="*/ 38225 h 57574"/>
                  <a:gd name="connsiteX5" fmla="*/ 203915 w 733794"/>
                  <a:gd name="connsiteY5" fmla="*/ 9944 h 57574"/>
                  <a:gd name="connsiteX6" fmla="*/ 247079 w 733794"/>
                  <a:gd name="connsiteY6" fmla="*/ 11433 h 57574"/>
                  <a:gd name="connsiteX7" fmla="*/ 272382 w 733794"/>
                  <a:gd name="connsiteY7" fmla="*/ 35248 h 57574"/>
                  <a:gd name="connsiteX8" fmla="*/ 317035 w 733794"/>
                  <a:gd name="connsiteY8" fmla="*/ 36736 h 57574"/>
                  <a:gd name="connsiteX9" fmla="*/ 348292 w 733794"/>
                  <a:gd name="connsiteY9" fmla="*/ 9944 h 57574"/>
                  <a:gd name="connsiteX10" fmla="*/ 391456 w 733794"/>
                  <a:gd name="connsiteY10" fmla="*/ 9944 h 57574"/>
                  <a:gd name="connsiteX11" fmla="*/ 419737 w 733794"/>
                  <a:gd name="connsiteY11" fmla="*/ 35248 h 57574"/>
                  <a:gd name="connsiteX12" fmla="*/ 462901 w 733794"/>
                  <a:gd name="connsiteY12" fmla="*/ 35248 h 57574"/>
                  <a:gd name="connsiteX13" fmla="*/ 489693 w 733794"/>
                  <a:gd name="connsiteY13" fmla="*/ 9944 h 57574"/>
                  <a:gd name="connsiteX14" fmla="*/ 532857 w 733794"/>
                  <a:gd name="connsiteY14" fmla="*/ 8456 h 57574"/>
                  <a:gd name="connsiteX15" fmla="*/ 564114 w 733794"/>
                  <a:gd name="connsiteY15" fmla="*/ 35248 h 57574"/>
                  <a:gd name="connsiteX16" fmla="*/ 608767 w 733794"/>
                  <a:gd name="connsiteY16" fmla="*/ 33759 h 57574"/>
                  <a:gd name="connsiteX17" fmla="*/ 632582 w 733794"/>
                  <a:gd name="connsiteY17" fmla="*/ 9944 h 57574"/>
                  <a:gd name="connsiteX18" fmla="*/ 675746 w 733794"/>
                  <a:gd name="connsiteY18" fmla="*/ 6967 h 57574"/>
                  <a:gd name="connsiteX19" fmla="*/ 733795 w 733794"/>
                  <a:gd name="connsiteY19" fmla="*/ 53109 h 57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33794" h="57574">
                    <a:moveTo>
                      <a:pt x="0" y="57574"/>
                    </a:moveTo>
                    <a:lnTo>
                      <a:pt x="59537" y="9944"/>
                    </a:lnTo>
                    <a:cubicBezTo>
                      <a:pt x="72933" y="-475"/>
                      <a:pt x="90794" y="1014"/>
                      <a:pt x="102701" y="12921"/>
                    </a:cubicBezTo>
                    <a:lnTo>
                      <a:pt x="125028" y="35248"/>
                    </a:lnTo>
                    <a:cubicBezTo>
                      <a:pt x="136935" y="47155"/>
                      <a:pt x="156285" y="48644"/>
                      <a:pt x="169681" y="38225"/>
                    </a:cubicBezTo>
                    <a:lnTo>
                      <a:pt x="203915" y="9944"/>
                    </a:lnTo>
                    <a:cubicBezTo>
                      <a:pt x="217310" y="-475"/>
                      <a:pt x="235172" y="-475"/>
                      <a:pt x="247079" y="11433"/>
                    </a:cubicBezTo>
                    <a:lnTo>
                      <a:pt x="272382" y="35248"/>
                    </a:lnTo>
                    <a:cubicBezTo>
                      <a:pt x="285778" y="47155"/>
                      <a:pt x="303639" y="47155"/>
                      <a:pt x="317035" y="36736"/>
                    </a:cubicBezTo>
                    <a:lnTo>
                      <a:pt x="348292" y="9944"/>
                    </a:lnTo>
                    <a:cubicBezTo>
                      <a:pt x="361688" y="-1963"/>
                      <a:pt x="378061" y="-475"/>
                      <a:pt x="391456" y="9944"/>
                    </a:cubicBezTo>
                    <a:lnTo>
                      <a:pt x="419737" y="35248"/>
                    </a:lnTo>
                    <a:cubicBezTo>
                      <a:pt x="433132" y="47155"/>
                      <a:pt x="450994" y="47155"/>
                      <a:pt x="462901" y="35248"/>
                    </a:cubicBezTo>
                    <a:lnTo>
                      <a:pt x="489693" y="9944"/>
                    </a:lnTo>
                    <a:cubicBezTo>
                      <a:pt x="503089" y="-1963"/>
                      <a:pt x="519461" y="-1963"/>
                      <a:pt x="532857" y="8456"/>
                    </a:cubicBezTo>
                    <a:lnTo>
                      <a:pt x="564114" y="35248"/>
                    </a:lnTo>
                    <a:cubicBezTo>
                      <a:pt x="577510" y="47155"/>
                      <a:pt x="595371" y="45667"/>
                      <a:pt x="608767" y="33759"/>
                    </a:cubicBezTo>
                    <a:lnTo>
                      <a:pt x="632582" y="9944"/>
                    </a:lnTo>
                    <a:cubicBezTo>
                      <a:pt x="644489" y="-1963"/>
                      <a:pt x="662350" y="-3451"/>
                      <a:pt x="675746" y="6967"/>
                    </a:cubicBezTo>
                    <a:lnTo>
                      <a:pt x="733795" y="53109"/>
                    </a:lnTo>
                  </a:path>
                </a:pathLst>
              </a:custGeom>
              <a:noFill/>
              <a:ln w="12700" cap="rnd">
                <a:solidFill>
                  <a:srgbClr val="0431A6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432DBF9F-090E-6D12-EAC5-941763EF8E34}"/>
                  </a:ext>
                </a:extLst>
              </p:cNvPr>
              <p:cNvSpPr/>
              <p:nvPr/>
            </p:nvSpPr>
            <p:spPr>
              <a:xfrm>
                <a:off x="1272245" y="5605055"/>
                <a:ext cx="778447" cy="60169"/>
              </a:xfrm>
              <a:custGeom>
                <a:avLst/>
                <a:gdLst>
                  <a:gd name="connsiteX0" fmla="*/ 0 w 778447"/>
                  <a:gd name="connsiteY0" fmla="*/ 27424 h 60169"/>
                  <a:gd name="connsiteX1" fmla="*/ 17861 w 778447"/>
                  <a:gd name="connsiteY1" fmla="*/ 14028 h 60169"/>
                  <a:gd name="connsiteX2" fmla="*/ 66979 w 778447"/>
                  <a:gd name="connsiteY2" fmla="*/ 17005 h 60169"/>
                  <a:gd name="connsiteX3" fmla="*/ 92283 w 778447"/>
                  <a:gd name="connsiteY3" fmla="*/ 42308 h 60169"/>
                  <a:gd name="connsiteX4" fmla="*/ 141401 w 778447"/>
                  <a:gd name="connsiteY4" fmla="*/ 45285 h 60169"/>
                  <a:gd name="connsiteX5" fmla="*/ 178611 w 778447"/>
                  <a:gd name="connsiteY5" fmla="*/ 14028 h 60169"/>
                  <a:gd name="connsiteX6" fmla="*/ 227729 w 778447"/>
                  <a:gd name="connsiteY6" fmla="*/ 15516 h 60169"/>
                  <a:gd name="connsiteX7" fmla="*/ 257498 w 778447"/>
                  <a:gd name="connsiteY7" fmla="*/ 42308 h 60169"/>
                  <a:gd name="connsiteX8" fmla="*/ 306616 w 778447"/>
                  <a:gd name="connsiteY8" fmla="*/ 43796 h 60169"/>
                  <a:gd name="connsiteX9" fmla="*/ 340850 w 778447"/>
                  <a:gd name="connsiteY9" fmla="*/ 14028 h 60169"/>
                  <a:gd name="connsiteX10" fmla="*/ 389968 w 778447"/>
                  <a:gd name="connsiteY10" fmla="*/ 14028 h 60169"/>
                  <a:gd name="connsiteX11" fmla="*/ 422713 w 778447"/>
                  <a:gd name="connsiteY11" fmla="*/ 42308 h 60169"/>
                  <a:gd name="connsiteX12" fmla="*/ 471832 w 778447"/>
                  <a:gd name="connsiteY12" fmla="*/ 40819 h 60169"/>
                  <a:gd name="connsiteX13" fmla="*/ 503088 w 778447"/>
                  <a:gd name="connsiteY13" fmla="*/ 12539 h 60169"/>
                  <a:gd name="connsiteX14" fmla="*/ 552207 w 778447"/>
                  <a:gd name="connsiteY14" fmla="*/ 11051 h 60169"/>
                  <a:gd name="connsiteX15" fmla="*/ 587929 w 778447"/>
                  <a:gd name="connsiteY15" fmla="*/ 40819 h 60169"/>
                  <a:gd name="connsiteX16" fmla="*/ 637047 w 778447"/>
                  <a:gd name="connsiteY16" fmla="*/ 37843 h 60169"/>
                  <a:gd name="connsiteX17" fmla="*/ 663839 w 778447"/>
                  <a:gd name="connsiteY17" fmla="*/ 11051 h 60169"/>
                  <a:gd name="connsiteX18" fmla="*/ 712957 w 778447"/>
                  <a:gd name="connsiteY18" fmla="*/ 8074 h 60169"/>
                  <a:gd name="connsiteX19" fmla="*/ 778448 w 778447"/>
                  <a:gd name="connsiteY19" fmla="*/ 60169 h 6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78447" h="60169">
                    <a:moveTo>
                      <a:pt x="0" y="27424"/>
                    </a:moveTo>
                    <a:lnTo>
                      <a:pt x="17861" y="14028"/>
                    </a:lnTo>
                    <a:cubicBezTo>
                      <a:pt x="32745" y="2120"/>
                      <a:pt x="52095" y="3609"/>
                      <a:pt x="66979" y="17005"/>
                    </a:cubicBezTo>
                    <a:lnTo>
                      <a:pt x="92283" y="42308"/>
                    </a:lnTo>
                    <a:cubicBezTo>
                      <a:pt x="107167" y="57192"/>
                      <a:pt x="126516" y="57192"/>
                      <a:pt x="141401" y="45285"/>
                    </a:cubicBezTo>
                    <a:lnTo>
                      <a:pt x="178611" y="14028"/>
                    </a:lnTo>
                    <a:cubicBezTo>
                      <a:pt x="193496" y="2120"/>
                      <a:pt x="212845" y="2120"/>
                      <a:pt x="227729" y="15516"/>
                    </a:cubicBezTo>
                    <a:lnTo>
                      <a:pt x="257498" y="42308"/>
                    </a:lnTo>
                    <a:cubicBezTo>
                      <a:pt x="272382" y="55704"/>
                      <a:pt x="291732" y="55704"/>
                      <a:pt x="306616" y="43796"/>
                    </a:cubicBezTo>
                    <a:lnTo>
                      <a:pt x="340850" y="14028"/>
                    </a:lnTo>
                    <a:cubicBezTo>
                      <a:pt x="355734" y="632"/>
                      <a:pt x="375084" y="632"/>
                      <a:pt x="389968" y="14028"/>
                    </a:cubicBezTo>
                    <a:lnTo>
                      <a:pt x="422713" y="42308"/>
                    </a:lnTo>
                    <a:cubicBezTo>
                      <a:pt x="437598" y="55704"/>
                      <a:pt x="458436" y="55704"/>
                      <a:pt x="471832" y="40819"/>
                    </a:cubicBezTo>
                    <a:lnTo>
                      <a:pt x="503088" y="12539"/>
                    </a:lnTo>
                    <a:cubicBezTo>
                      <a:pt x="517973" y="-856"/>
                      <a:pt x="537322" y="-856"/>
                      <a:pt x="552207" y="11051"/>
                    </a:cubicBezTo>
                    <a:lnTo>
                      <a:pt x="587929" y="40819"/>
                    </a:lnTo>
                    <a:cubicBezTo>
                      <a:pt x="602813" y="52727"/>
                      <a:pt x="623651" y="52727"/>
                      <a:pt x="637047" y="37843"/>
                    </a:cubicBezTo>
                    <a:lnTo>
                      <a:pt x="663839" y="11051"/>
                    </a:lnTo>
                    <a:cubicBezTo>
                      <a:pt x="677235" y="-2345"/>
                      <a:pt x="698073" y="-3833"/>
                      <a:pt x="712957" y="8074"/>
                    </a:cubicBezTo>
                    <a:lnTo>
                      <a:pt x="778448" y="60169"/>
                    </a:lnTo>
                  </a:path>
                </a:pathLst>
              </a:custGeom>
              <a:noFill/>
              <a:ln w="12700" cap="rnd">
                <a:solidFill>
                  <a:srgbClr val="0431A6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B609BE97-7EE9-D0DE-C495-2A5AEDAFDEF1}"/>
                  </a:ext>
                </a:extLst>
              </p:cNvPr>
              <p:cNvSpPr/>
              <p:nvPr/>
            </p:nvSpPr>
            <p:spPr>
              <a:xfrm>
                <a:off x="1599699" y="5367539"/>
                <a:ext cx="35722" cy="14884"/>
              </a:xfrm>
              <a:custGeom>
                <a:avLst/>
                <a:gdLst>
                  <a:gd name="connsiteX0" fmla="*/ 0 w 35722"/>
                  <a:gd name="connsiteY0" fmla="*/ 0 h 14884"/>
                  <a:gd name="connsiteX1" fmla="*/ 35722 w 35722"/>
                  <a:gd name="connsiteY1" fmla="*/ 0 h 14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722" h="14884">
                    <a:moveTo>
                      <a:pt x="0" y="0"/>
                    </a:moveTo>
                    <a:lnTo>
                      <a:pt x="35722" y="0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35" name="Graphic 776">
              <a:extLst>
                <a:ext uri="{FF2B5EF4-FFF2-40B4-BE49-F238E27FC236}">
                  <a16:creationId xmlns:a16="http://schemas.microsoft.com/office/drawing/2014/main" id="{CF820918-A27D-1B03-7BF4-A432DA1B514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90324" y="2019156"/>
              <a:ext cx="442560" cy="440059"/>
              <a:chOff x="1300163" y="2459473"/>
              <a:chExt cx="838101" cy="833365"/>
            </a:xfrm>
          </p:grpSpPr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141F41FD-82D6-7028-3184-5E85840E71B1}"/>
                  </a:ext>
                </a:extLst>
              </p:cNvPr>
              <p:cNvSpPr/>
              <p:nvPr/>
            </p:nvSpPr>
            <p:spPr>
              <a:xfrm>
                <a:off x="1987043" y="2919261"/>
                <a:ext cx="49378" cy="67052"/>
              </a:xfrm>
              <a:custGeom>
                <a:avLst/>
                <a:gdLst>
                  <a:gd name="connsiteX0" fmla="*/ 49328 w 49378"/>
                  <a:gd name="connsiteY0" fmla="*/ 5474 h 67052"/>
                  <a:gd name="connsiteX1" fmla="*/ 23328 w 49378"/>
                  <a:gd name="connsiteY1" fmla="*/ 67052 h 67052"/>
                  <a:gd name="connsiteX2" fmla="*/ 65 w 49378"/>
                  <a:gd name="connsiteY2" fmla="*/ 0 h 6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8" h="67052">
                    <a:moveTo>
                      <a:pt x="49328" y="5474"/>
                    </a:moveTo>
                    <a:cubicBezTo>
                      <a:pt x="50697" y="41053"/>
                      <a:pt x="23328" y="67052"/>
                      <a:pt x="23328" y="67052"/>
                    </a:cubicBezTo>
                    <a:cubicBezTo>
                      <a:pt x="19223" y="64316"/>
                      <a:pt x="-1303" y="35579"/>
                      <a:pt x="65" y="0"/>
                    </a:cubicBezTo>
                  </a:path>
                </a:pathLst>
              </a:custGeom>
              <a:noFill/>
              <a:ln w="12700" cap="rnd">
                <a:solidFill>
                  <a:srgbClr val="335CB7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04A2A9AD-6C66-5603-C42C-000385E1A94B}"/>
                  </a:ext>
                </a:extLst>
              </p:cNvPr>
              <p:cNvSpPr/>
              <p:nvPr/>
            </p:nvSpPr>
            <p:spPr>
              <a:xfrm>
                <a:off x="1985740" y="2764630"/>
                <a:ext cx="60210" cy="69789"/>
              </a:xfrm>
              <a:custGeom>
                <a:avLst/>
                <a:gdLst>
                  <a:gd name="connsiteX0" fmla="*/ 60210 w 60210"/>
                  <a:gd name="connsiteY0" fmla="*/ 69789 h 69789"/>
                  <a:gd name="connsiteX1" fmla="*/ 60210 w 60210"/>
                  <a:gd name="connsiteY1" fmla="*/ 17789 h 69789"/>
                  <a:gd name="connsiteX2" fmla="*/ 43789 w 60210"/>
                  <a:gd name="connsiteY2" fmla="*/ 0 h 69789"/>
                  <a:gd name="connsiteX3" fmla="*/ 16421 w 60210"/>
                  <a:gd name="connsiteY3" fmla="*/ 0 h 69789"/>
                  <a:gd name="connsiteX4" fmla="*/ 0 w 60210"/>
                  <a:gd name="connsiteY4" fmla="*/ 17789 h 69789"/>
                  <a:gd name="connsiteX5" fmla="*/ 0 w 60210"/>
                  <a:gd name="connsiteY5" fmla="*/ 47895 h 6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210" h="69789">
                    <a:moveTo>
                      <a:pt x="60210" y="69789"/>
                    </a:moveTo>
                    <a:lnTo>
                      <a:pt x="60210" y="17789"/>
                    </a:lnTo>
                    <a:cubicBezTo>
                      <a:pt x="60210" y="8211"/>
                      <a:pt x="52000" y="0"/>
                      <a:pt x="43789" y="0"/>
                    </a:cubicBezTo>
                    <a:lnTo>
                      <a:pt x="16421" y="0"/>
                    </a:lnTo>
                    <a:cubicBezTo>
                      <a:pt x="6842" y="0"/>
                      <a:pt x="0" y="8211"/>
                      <a:pt x="0" y="17789"/>
                    </a:cubicBezTo>
                    <a:lnTo>
                      <a:pt x="0" y="47895"/>
                    </a:lnTo>
                  </a:path>
                </a:pathLst>
              </a:custGeom>
              <a:noFill/>
              <a:ln w="12700" cap="rnd">
                <a:solidFill>
                  <a:srgbClr val="335CB7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1895C530-68D2-3AF9-B98A-B163B58DC33B}"/>
                  </a:ext>
                </a:extLst>
              </p:cNvPr>
              <p:cNvSpPr/>
              <p:nvPr/>
            </p:nvSpPr>
            <p:spPr>
              <a:xfrm>
                <a:off x="1417797" y="2919261"/>
                <a:ext cx="49378" cy="67052"/>
              </a:xfrm>
              <a:custGeom>
                <a:avLst/>
                <a:gdLst>
                  <a:gd name="connsiteX0" fmla="*/ 50 w 49378"/>
                  <a:gd name="connsiteY0" fmla="*/ 5474 h 67052"/>
                  <a:gd name="connsiteX1" fmla="*/ 26050 w 49378"/>
                  <a:gd name="connsiteY1" fmla="*/ 67052 h 67052"/>
                  <a:gd name="connsiteX2" fmla="*/ 49313 w 49378"/>
                  <a:gd name="connsiteY2" fmla="*/ 0 h 67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8" h="67052">
                    <a:moveTo>
                      <a:pt x="50" y="5474"/>
                    </a:moveTo>
                    <a:cubicBezTo>
                      <a:pt x="-1319" y="41053"/>
                      <a:pt x="26050" y="67052"/>
                      <a:pt x="26050" y="67052"/>
                    </a:cubicBezTo>
                    <a:cubicBezTo>
                      <a:pt x="30155" y="64316"/>
                      <a:pt x="50681" y="35579"/>
                      <a:pt x="49313" y="0"/>
                    </a:cubicBezTo>
                  </a:path>
                </a:pathLst>
              </a:custGeom>
              <a:noFill/>
              <a:ln w="12700" cap="rnd">
                <a:solidFill>
                  <a:srgbClr val="335CB7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C056AB89-EECB-144E-1918-022E5D31C793}"/>
                  </a:ext>
                </a:extLst>
              </p:cNvPr>
              <p:cNvSpPr/>
              <p:nvPr/>
            </p:nvSpPr>
            <p:spPr>
              <a:xfrm>
                <a:off x="1408268" y="2764630"/>
                <a:ext cx="60210" cy="69789"/>
              </a:xfrm>
              <a:custGeom>
                <a:avLst/>
                <a:gdLst>
                  <a:gd name="connsiteX0" fmla="*/ 0 w 60210"/>
                  <a:gd name="connsiteY0" fmla="*/ 69789 h 69789"/>
                  <a:gd name="connsiteX1" fmla="*/ 0 w 60210"/>
                  <a:gd name="connsiteY1" fmla="*/ 17789 h 69789"/>
                  <a:gd name="connsiteX2" fmla="*/ 16421 w 60210"/>
                  <a:gd name="connsiteY2" fmla="*/ 0 h 69789"/>
                  <a:gd name="connsiteX3" fmla="*/ 43789 w 60210"/>
                  <a:gd name="connsiteY3" fmla="*/ 0 h 69789"/>
                  <a:gd name="connsiteX4" fmla="*/ 60210 w 60210"/>
                  <a:gd name="connsiteY4" fmla="*/ 17789 h 69789"/>
                  <a:gd name="connsiteX5" fmla="*/ 60210 w 60210"/>
                  <a:gd name="connsiteY5" fmla="*/ 47895 h 6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210" h="69789">
                    <a:moveTo>
                      <a:pt x="0" y="69789"/>
                    </a:moveTo>
                    <a:lnTo>
                      <a:pt x="0" y="17789"/>
                    </a:lnTo>
                    <a:cubicBezTo>
                      <a:pt x="0" y="8211"/>
                      <a:pt x="8211" y="0"/>
                      <a:pt x="16421" y="0"/>
                    </a:cubicBezTo>
                    <a:lnTo>
                      <a:pt x="43789" y="0"/>
                    </a:lnTo>
                    <a:cubicBezTo>
                      <a:pt x="53368" y="0"/>
                      <a:pt x="60210" y="8211"/>
                      <a:pt x="60210" y="17789"/>
                    </a:cubicBezTo>
                    <a:lnTo>
                      <a:pt x="60210" y="47895"/>
                    </a:lnTo>
                  </a:path>
                </a:pathLst>
              </a:custGeom>
              <a:noFill/>
              <a:ln w="12700" cap="rnd">
                <a:solidFill>
                  <a:srgbClr val="335CB7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2AA776BB-A46D-5784-7F3E-2E96FB674EFD}"/>
                  </a:ext>
                </a:extLst>
              </p:cNvPr>
              <p:cNvSpPr/>
              <p:nvPr/>
            </p:nvSpPr>
            <p:spPr>
              <a:xfrm>
                <a:off x="1313216" y="2750945"/>
                <a:ext cx="324945" cy="187473"/>
              </a:xfrm>
              <a:custGeom>
                <a:avLst/>
                <a:gdLst>
                  <a:gd name="connsiteX0" fmla="*/ 324945 w 324945"/>
                  <a:gd name="connsiteY0" fmla="*/ 0 h 187473"/>
                  <a:gd name="connsiteX1" fmla="*/ 30736 w 324945"/>
                  <a:gd name="connsiteY1" fmla="*/ 113579 h 187473"/>
                  <a:gd name="connsiteX2" fmla="*/ 4736 w 324945"/>
                  <a:gd name="connsiteY2" fmla="*/ 187473 h 187473"/>
                  <a:gd name="connsiteX3" fmla="*/ 227788 w 324945"/>
                  <a:gd name="connsiteY3" fmla="*/ 156000 h 187473"/>
                  <a:gd name="connsiteX4" fmla="*/ 324945 w 324945"/>
                  <a:gd name="connsiteY4" fmla="*/ 160105 h 18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945" h="187473">
                    <a:moveTo>
                      <a:pt x="324945" y="0"/>
                    </a:moveTo>
                    <a:lnTo>
                      <a:pt x="30736" y="113579"/>
                    </a:lnTo>
                    <a:cubicBezTo>
                      <a:pt x="30736" y="113579"/>
                      <a:pt x="-14422" y="135473"/>
                      <a:pt x="4736" y="187473"/>
                    </a:cubicBezTo>
                    <a:cubicBezTo>
                      <a:pt x="227788" y="156000"/>
                      <a:pt x="227788" y="156000"/>
                      <a:pt x="227788" y="156000"/>
                    </a:cubicBezTo>
                    <a:lnTo>
                      <a:pt x="324945" y="160105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9655272C-D805-11FA-27B9-C158CEB7BF05}"/>
                  </a:ext>
                </a:extLst>
              </p:cNvPr>
              <p:cNvSpPr/>
              <p:nvPr/>
            </p:nvSpPr>
            <p:spPr>
              <a:xfrm>
                <a:off x="1698372" y="3083471"/>
                <a:ext cx="54802" cy="209367"/>
              </a:xfrm>
              <a:custGeom>
                <a:avLst/>
                <a:gdLst>
                  <a:gd name="connsiteX0" fmla="*/ 31474 w 54802"/>
                  <a:gd name="connsiteY0" fmla="*/ 209368 h 209367"/>
                  <a:gd name="connsiteX1" fmla="*/ 54737 w 54802"/>
                  <a:gd name="connsiteY1" fmla="*/ 58842 h 209367"/>
                  <a:gd name="connsiteX2" fmla="*/ 27368 w 54802"/>
                  <a:gd name="connsiteY2" fmla="*/ 0 h 209367"/>
                  <a:gd name="connsiteX3" fmla="*/ 0 w 54802"/>
                  <a:gd name="connsiteY3" fmla="*/ 58842 h 209367"/>
                  <a:gd name="connsiteX4" fmla="*/ 31474 w 54802"/>
                  <a:gd name="connsiteY4" fmla="*/ 209368 h 209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802" h="209367">
                    <a:moveTo>
                      <a:pt x="31474" y="209368"/>
                    </a:moveTo>
                    <a:cubicBezTo>
                      <a:pt x="35579" y="203894"/>
                      <a:pt x="56105" y="138210"/>
                      <a:pt x="54737" y="58842"/>
                    </a:cubicBezTo>
                    <a:cubicBezTo>
                      <a:pt x="53368" y="6842"/>
                      <a:pt x="27368" y="0"/>
                      <a:pt x="27368" y="0"/>
                    </a:cubicBezTo>
                    <a:cubicBezTo>
                      <a:pt x="27368" y="0"/>
                      <a:pt x="1368" y="6842"/>
                      <a:pt x="0" y="58842"/>
                    </a:cubicBezTo>
                    <a:cubicBezTo>
                      <a:pt x="0" y="138210"/>
                      <a:pt x="31474" y="209368"/>
                      <a:pt x="31474" y="209368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C1CA1C6A-751F-D7D2-3108-30345B78BE7A}"/>
                  </a:ext>
                </a:extLst>
              </p:cNvPr>
              <p:cNvSpPr/>
              <p:nvPr/>
            </p:nvSpPr>
            <p:spPr>
              <a:xfrm>
                <a:off x="1571109" y="3105366"/>
                <a:ext cx="124526" cy="108104"/>
              </a:xfrm>
              <a:custGeom>
                <a:avLst/>
                <a:gdLst>
                  <a:gd name="connsiteX0" fmla="*/ 123158 w 124526"/>
                  <a:gd name="connsiteY0" fmla="*/ 0 h 108104"/>
                  <a:gd name="connsiteX1" fmla="*/ 0 w 124526"/>
                  <a:gd name="connsiteY1" fmla="*/ 57474 h 108104"/>
                  <a:gd name="connsiteX2" fmla="*/ 0 w 124526"/>
                  <a:gd name="connsiteY2" fmla="*/ 108105 h 108104"/>
                  <a:gd name="connsiteX3" fmla="*/ 124526 w 124526"/>
                  <a:gd name="connsiteY3" fmla="*/ 75263 h 108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526" h="108104">
                    <a:moveTo>
                      <a:pt x="123158" y="0"/>
                    </a:moveTo>
                    <a:lnTo>
                      <a:pt x="0" y="57474"/>
                    </a:lnTo>
                    <a:lnTo>
                      <a:pt x="0" y="108105"/>
                    </a:lnTo>
                    <a:lnTo>
                      <a:pt x="124526" y="75263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648A8EBE-99B7-5D6B-F932-709E09702B8B}"/>
                  </a:ext>
                </a:extLst>
              </p:cNvPr>
              <p:cNvSpPr/>
              <p:nvPr/>
            </p:nvSpPr>
            <p:spPr>
              <a:xfrm>
                <a:off x="1300163" y="2459473"/>
                <a:ext cx="13684" cy="13684"/>
              </a:xfrm>
              <a:custGeom>
                <a:avLst/>
                <a:gdLst/>
                <a:ahLst/>
                <a:cxnLst/>
                <a:rect l="l" t="t" r="r" b="b"/>
                <a:pathLst>
                  <a:path w="13684" h="13684"/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6488AA11-3C54-2EC6-C802-D4BB321BED7E}"/>
                  </a:ext>
                </a:extLst>
              </p:cNvPr>
              <p:cNvSpPr/>
              <p:nvPr/>
            </p:nvSpPr>
            <p:spPr>
              <a:xfrm>
                <a:off x="1637867" y="2473157"/>
                <a:ext cx="172854" cy="640419"/>
              </a:xfrm>
              <a:custGeom>
                <a:avLst/>
                <a:gdLst>
                  <a:gd name="connsiteX0" fmla="*/ 130295 w 172854"/>
                  <a:gd name="connsiteY0" fmla="*/ 640420 h 640419"/>
                  <a:gd name="connsiteX1" fmla="*/ 157663 w 172854"/>
                  <a:gd name="connsiteY1" fmla="*/ 577472 h 640419"/>
                  <a:gd name="connsiteX2" fmla="*/ 171347 w 172854"/>
                  <a:gd name="connsiteY2" fmla="*/ 466630 h 640419"/>
                  <a:gd name="connsiteX3" fmla="*/ 172715 w 172854"/>
                  <a:gd name="connsiteY3" fmla="*/ 264105 h 640419"/>
                  <a:gd name="connsiteX4" fmla="*/ 109768 w 172854"/>
                  <a:gd name="connsiteY4" fmla="*/ 8211 h 640419"/>
                  <a:gd name="connsiteX5" fmla="*/ 61874 w 172854"/>
                  <a:gd name="connsiteY5" fmla="*/ 8211 h 640419"/>
                  <a:gd name="connsiteX6" fmla="*/ 295 w 172854"/>
                  <a:gd name="connsiteY6" fmla="*/ 264105 h 640419"/>
                  <a:gd name="connsiteX7" fmla="*/ 1663 w 172854"/>
                  <a:gd name="connsiteY7" fmla="*/ 466630 h 640419"/>
                  <a:gd name="connsiteX8" fmla="*/ 15347 w 172854"/>
                  <a:gd name="connsiteY8" fmla="*/ 577472 h 640419"/>
                  <a:gd name="connsiteX9" fmla="*/ 42716 w 172854"/>
                  <a:gd name="connsiteY9" fmla="*/ 640420 h 640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2854" h="640419">
                    <a:moveTo>
                      <a:pt x="130295" y="640420"/>
                    </a:moveTo>
                    <a:cubicBezTo>
                      <a:pt x="142610" y="622630"/>
                      <a:pt x="150821" y="599367"/>
                      <a:pt x="157663" y="577472"/>
                    </a:cubicBezTo>
                    <a:cubicBezTo>
                      <a:pt x="168610" y="540525"/>
                      <a:pt x="172715" y="503578"/>
                      <a:pt x="171347" y="466630"/>
                    </a:cubicBezTo>
                    <a:cubicBezTo>
                      <a:pt x="171347" y="436525"/>
                      <a:pt x="171347" y="379052"/>
                      <a:pt x="172715" y="264105"/>
                    </a:cubicBezTo>
                    <a:cubicBezTo>
                      <a:pt x="175452" y="99895"/>
                      <a:pt x="137137" y="34210"/>
                      <a:pt x="109768" y="8211"/>
                    </a:cubicBezTo>
                    <a:cubicBezTo>
                      <a:pt x="98821" y="-2737"/>
                      <a:pt x="74189" y="-2737"/>
                      <a:pt x="61874" y="8211"/>
                    </a:cubicBezTo>
                    <a:cubicBezTo>
                      <a:pt x="35874" y="34210"/>
                      <a:pt x="-3810" y="99895"/>
                      <a:pt x="295" y="264105"/>
                    </a:cubicBezTo>
                    <a:cubicBezTo>
                      <a:pt x="3032" y="379052"/>
                      <a:pt x="3032" y="437894"/>
                      <a:pt x="1663" y="466630"/>
                    </a:cubicBezTo>
                    <a:cubicBezTo>
                      <a:pt x="1663" y="503578"/>
                      <a:pt x="5769" y="540525"/>
                      <a:pt x="15347" y="577472"/>
                    </a:cubicBezTo>
                    <a:cubicBezTo>
                      <a:pt x="22190" y="599367"/>
                      <a:pt x="30400" y="622630"/>
                      <a:pt x="42716" y="640420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10DE918E-CC78-4965-C1B7-3ACBFEB0C1FF}"/>
                  </a:ext>
                </a:extLst>
              </p:cNvPr>
              <p:cNvSpPr/>
              <p:nvPr/>
            </p:nvSpPr>
            <p:spPr>
              <a:xfrm>
                <a:off x="1753109" y="3105366"/>
                <a:ext cx="121789" cy="108104"/>
              </a:xfrm>
              <a:custGeom>
                <a:avLst/>
                <a:gdLst>
                  <a:gd name="connsiteX0" fmla="*/ 0 w 121789"/>
                  <a:gd name="connsiteY0" fmla="*/ 0 h 108104"/>
                  <a:gd name="connsiteX1" fmla="*/ 121789 w 121789"/>
                  <a:gd name="connsiteY1" fmla="*/ 57474 h 108104"/>
                  <a:gd name="connsiteX2" fmla="*/ 121789 w 121789"/>
                  <a:gd name="connsiteY2" fmla="*/ 108105 h 108104"/>
                  <a:gd name="connsiteX3" fmla="*/ 5474 w 121789"/>
                  <a:gd name="connsiteY3" fmla="*/ 78000 h 108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1789" h="108104">
                    <a:moveTo>
                      <a:pt x="0" y="0"/>
                    </a:moveTo>
                    <a:lnTo>
                      <a:pt x="121789" y="57474"/>
                    </a:lnTo>
                    <a:lnTo>
                      <a:pt x="121789" y="108105"/>
                    </a:lnTo>
                    <a:lnTo>
                      <a:pt x="5474" y="78000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20763E2F-464E-5EF9-7C40-EF59A33352C3}"/>
                  </a:ext>
                </a:extLst>
              </p:cNvPr>
              <p:cNvSpPr/>
              <p:nvPr/>
            </p:nvSpPr>
            <p:spPr>
              <a:xfrm>
                <a:off x="1681951" y="2559367"/>
                <a:ext cx="82105" cy="34210"/>
              </a:xfrm>
              <a:custGeom>
                <a:avLst/>
                <a:gdLst>
                  <a:gd name="connsiteX0" fmla="*/ 82105 w 82105"/>
                  <a:gd name="connsiteY0" fmla="*/ 34210 h 34210"/>
                  <a:gd name="connsiteX1" fmla="*/ 41053 w 82105"/>
                  <a:gd name="connsiteY1" fmla="*/ 0 h 34210"/>
                  <a:gd name="connsiteX2" fmla="*/ 0 w 82105"/>
                  <a:gd name="connsiteY2" fmla="*/ 34210 h 34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105" h="34210">
                    <a:moveTo>
                      <a:pt x="82105" y="34210"/>
                    </a:moveTo>
                    <a:cubicBezTo>
                      <a:pt x="72526" y="8211"/>
                      <a:pt x="57474" y="0"/>
                      <a:pt x="41053" y="0"/>
                    </a:cubicBezTo>
                    <a:cubicBezTo>
                      <a:pt x="24632" y="0"/>
                      <a:pt x="9579" y="9579"/>
                      <a:pt x="0" y="34210"/>
                    </a:cubicBez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DCF4AD1E-2233-8496-5C7C-7E780BF13541}"/>
                  </a:ext>
                </a:extLst>
              </p:cNvPr>
              <p:cNvSpPr/>
              <p:nvPr/>
            </p:nvSpPr>
            <p:spPr>
              <a:xfrm>
                <a:off x="1724372" y="2630525"/>
                <a:ext cx="13684" cy="325683"/>
              </a:xfrm>
              <a:custGeom>
                <a:avLst/>
                <a:gdLst>
                  <a:gd name="connsiteX0" fmla="*/ 0 w 13684"/>
                  <a:gd name="connsiteY0" fmla="*/ 0 h 325683"/>
                  <a:gd name="connsiteX1" fmla="*/ 0 w 13684"/>
                  <a:gd name="connsiteY1" fmla="*/ 325683 h 325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84" h="325683">
                    <a:moveTo>
                      <a:pt x="0" y="0"/>
                    </a:moveTo>
                    <a:lnTo>
                      <a:pt x="0" y="325683"/>
                    </a:lnTo>
                  </a:path>
                </a:pathLst>
              </a:custGeom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D813EB5E-6CC4-7644-0666-3075741D28D6}"/>
                  </a:ext>
                </a:extLst>
              </p:cNvPr>
              <p:cNvSpPr/>
              <p:nvPr/>
            </p:nvSpPr>
            <p:spPr>
              <a:xfrm>
                <a:off x="1811951" y="2750945"/>
                <a:ext cx="326313" cy="187473"/>
              </a:xfrm>
              <a:custGeom>
                <a:avLst/>
                <a:gdLst>
                  <a:gd name="connsiteX0" fmla="*/ 0 w 326313"/>
                  <a:gd name="connsiteY0" fmla="*/ 0 h 187473"/>
                  <a:gd name="connsiteX1" fmla="*/ 295578 w 326313"/>
                  <a:gd name="connsiteY1" fmla="*/ 113579 h 187473"/>
                  <a:gd name="connsiteX2" fmla="*/ 321578 w 326313"/>
                  <a:gd name="connsiteY2" fmla="*/ 187473 h 187473"/>
                  <a:gd name="connsiteX3" fmla="*/ 98526 w 326313"/>
                  <a:gd name="connsiteY3" fmla="*/ 156000 h 187473"/>
                  <a:gd name="connsiteX4" fmla="*/ 0 w 326313"/>
                  <a:gd name="connsiteY4" fmla="*/ 160105 h 18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313" h="187473">
                    <a:moveTo>
                      <a:pt x="0" y="0"/>
                    </a:moveTo>
                    <a:lnTo>
                      <a:pt x="295578" y="113579"/>
                    </a:lnTo>
                    <a:cubicBezTo>
                      <a:pt x="295578" y="113579"/>
                      <a:pt x="340736" y="135473"/>
                      <a:pt x="321578" y="187473"/>
                    </a:cubicBezTo>
                    <a:cubicBezTo>
                      <a:pt x="98526" y="156000"/>
                      <a:pt x="98526" y="156000"/>
                      <a:pt x="98526" y="156000"/>
                    </a:cubicBezTo>
                    <a:lnTo>
                      <a:pt x="0" y="160105"/>
                    </a:lnTo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49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72" name="Graphic 171">
            <a:extLst>
              <a:ext uri="{FF2B5EF4-FFF2-40B4-BE49-F238E27FC236}">
                <a16:creationId xmlns:a16="http://schemas.microsoft.com/office/drawing/2014/main" id="{9D38F216-C4CE-D05D-91D5-B2755164E6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52563" y="4118437"/>
            <a:ext cx="296472" cy="90000"/>
          </a:xfrm>
          <a:prstGeom prst="rect">
            <a:avLst/>
          </a:prstGeom>
        </p:spPr>
      </p:pic>
      <p:pic>
        <p:nvPicPr>
          <p:cNvPr id="173" name="Graphic 172">
            <a:extLst>
              <a:ext uri="{FF2B5EF4-FFF2-40B4-BE49-F238E27FC236}">
                <a16:creationId xmlns:a16="http://schemas.microsoft.com/office/drawing/2014/main" id="{93633695-0EC2-9985-D9AB-E0F4DA5436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87418" y="4169119"/>
            <a:ext cx="213460" cy="6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412251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oogle Shape;41;p1"/>
          <p:cNvPicPr preferRelativeResize="0"/>
          <p:nvPr/>
        </p:nvPicPr>
        <p:blipFill rotWithShape="1">
          <a:blip r:embed="rId3">
            <a:alphaModFix/>
          </a:blip>
          <a:srcRect l="4003" t="22570"/>
          <a:stretch/>
        </p:blipFill>
        <p:spPr>
          <a:xfrm>
            <a:off x="0" y="-79250"/>
            <a:ext cx="12192000" cy="6937249"/>
          </a:xfrm>
          <a:prstGeom prst="rect">
            <a:avLst/>
          </a:prstGeom>
          <a:solidFill>
            <a:srgbClr val="571A00"/>
          </a:solidFill>
          <a:ln>
            <a:noFill/>
          </a:ln>
        </p:spPr>
      </p:pic>
      <p:sp>
        <p:nvSpPr>
          <p:cNvPr id="42" name="Google Shape;42;p1"/>
          <p:cNvSpPr txBox="1"/>
          <p:nvPr/>
        </p:nvSpPr>
        <p:spPr>
          <a:xfrm>
            <a:off x="304772" y="330400"/>
            <a:ext cx="4991100" cy="18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da-DK" sz="6100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Cybercrime </a:t>
            </a:r>
            <a:r>
              <a:rPr lang="da-DK" sz="6100" dirty="0" err="1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Survey</a:t>
            </a:r>
            <a:r>
              <a:rPr lang="da-DK" sz="6100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 2023</a:t>
            </a:r>
            <a:endParaRPr sz="6100" i="0" u="none" strike="noStrike" cap="none" dirty="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E3E2FB-3C37-9680-94E1-0FAAE4BD93DD}"/>
              </a:ext>
            </a:extLst>
          </p:cNvPr>
          <p:cNvSpPr/>
          <p:nvPr/>
        </p:nvSpPr>
        <p:spPr>
          <a:xfrm>
            <a:off x="7998781" y="-79250"/>
            <a:ext cx="4193219" cy="6937249"/>
          </a:xfrm>
          <a:prstGeom prst="rect">
            <a:avLst/>
          </a:prstGeom>
          <a:solidFill>
            <a:srgbClr val="0B13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7BAE81-9303-7124-D7AE-8F41036D2011}"/>
              </a:ext>
            </a:extLst>
          </p:cNvPr>
          <p:cNvSpPr txBox="1"/>
          <p:nvPr/>
        </p:nvSpPr>
        <p:spPr>
          <a:xfrm>
            <a:off x="8230362" y="4781598"/>
            <a:ext cx="373005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>
                <a:solidFill>
                  <a:schemeClr val="accent2"/>
                </a:solidFill>
              </a:rPr>
              <a:t>556 danske og 106 norske virksomhedsledere, it-chefer og it-sikkerhedsspecialister har deltaget i PwC’s Cybercrime </a:t>
            </a:r>
            <a:r>
              <a:rPr lang="da-DK" sz="2000" dirty="0" err="1">
                <a:solidFill>
                  <a:schemeClr val="accent2"/>
                </a:solidFill>
              </a:rPr>
              <a:t>Survey</a:t>
            </a:r>
            <a:r>
              <a:rPr lang="da-DK" sz="2000" dirty="0">
                <a:solidFill>
                  <a:schemeClr val="accent2"/>
                </a:solidFill>
              </a:rPr>
              <a:t> 2023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40D8F64-9AEA-1095-5134-93916C05764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F2131A8-5E90-6160-FA05-8637CFF70E34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g29fd7e1232e_0_193"/>
          <p:cNvSpPr/>
          <p:nvPr/>
        </p:nvSpPr>
        <p:spPr>
          <a:xfrm flipH="1">
            <a:off x="-50" y="1038225"/>
            <a:ext cx="5626800" cy="876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3" name="Google Shape;83;g29fd7e1232e_0_193"/>
          <p:cNvPicPr preferRelativeResize="0"/>
          <p:nvPr/>
        </p:nvPicPr>
        <p:blipFill rotWithShape="1">
          <a:blip r:embed="rId3">
            <a:alphaModFix/>
          </a:blip>
          <a:srcRect t="46334" r="42289"/>
          <a:stretch/>
        </p:blipFill>
        <p:spPr>
          <a:xfrm>
            <a:off x="-50" y="2003100"/>
            <a:ext cx="7263226" cy="4169099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g29fd7e1232e_0_193"/>
          <p:cNvSpPr txBox="1"/>
          <p:nvPr/>
        </p:nvSpPr>
        <p:spPr>
          <a:xfrm>
            <a:off x="6975925" y="2165825"/>
            <a:ext cx="4639500" cy="190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a-DK" sz="4000">
                <a:solidFill>
                  <a:schemeClr val="accent4"/>
                </a:solidFill>
              </a:rPr>
              <a:t>45 </a:t>
            </a:r>
            <a:r>
              <a:rPr lang="da-DK" sz="400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>
              <a:solidFill>
                <a:schemeClr val="accent4"/>
              </a:solidFill>
            </a:endParaRP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000">
                <a:solidFill>
                  <a:schemeClr val="dk1"/>
                </a:solidFill>
              </a:rPr>
              <a:t>fortæller, at deres virksomhed har været udsat for mindst én sikkerhedshændelse i løbet af de seneste 12 måned</a:t>
            </a:r>
            <a:endParaRPr sz="2000"/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85" name="Google Shape;85;g29fd7e1232e_0_193"/>
          <p:cNvGrpSpPr/>
          <p:nvPr/>
        </p:nvGrpSpPr>
        <p:grpSpPr>
          <a:xfrm>
            <a:off x="6934142" y="2113746"/>
            <a:ext cx="4639283" cy="1828764"/>
            <a:chOff x="304779" y="2094614"/>
            <a:chExt cx="9203100" cy="1377600"/>
          </a:xfrm>
        </p:grpSpPr>
        <p:cxnSp>
          <p:nvCxnSpPr>
            <p:cNvPr id="86" name="Google Shape;86;g29fd7e1232e_0_193"/>
            <p:cNvCxnSpPr/>
            <p:nvPr/>
          </p:nvCxnSpPr>
          <p:spPr>
            <a:xfrm>
              <a:off x="304779" y="2094614"/>
              <a:ext cx="92031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87" name="Google Shape;87;g29fd7e1232e_0_193"/>
            <p:cNvCxnSpPr/>
            <p:nvPr/>
          </p:nvCxnSpPr>
          <p:spPr>
            <a:xfrm>
              <a:off x="304779" y="3472214"/>
              <a:ext cx="92031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88" name="Google Shape;88;g29fd7e1232e_0_19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0" y="-1"/>
            <a:ext cx="12243504" cy="1821815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g29fd7e1232e_0_19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g29fd7e1232e_0_193"/>
          <p:cNvSpPr txBox="1"/>
          <p:nvPr/>
        </p:nvSpPr>
        <p:spPr>
          <a:xfrm>
            <a:off x="6975925" y="4299425"/>
            <a:ext cx="4597500" cy="19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a-DK" sz="4000">
                <a:solidFill>
                  <a:schemeClr val="accent4"/>
                </a:solidFill>
              </a:rPr>
              <a:t>23 </a:t>
            </a:r>
            <a:r>
              <a:rPr lang="da-DK" sz="400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>
              <a:solidFill>
                <a:schemeClr val="accent4"/>
              </a:solidFill>
            </a:endParaRPr>
          </a:p>
          <a:p>
            <a:pPr marL="0" lvl="0" indent="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000"/>
              <a:t>fortæller, at de ikke kan fastslå, om de har været udsat for en eller flere sikkerhedshændelser målrettet deres virksomhed</a:t>
            </a:r>
            <a:endParaRPr/>
          </a:p>
        </p:txBody>
      </p:sp>
      <p:grpSp>
        <p:nvGrpSpPr>
          <p:cNvPr id="91" name="Google Shape;91;g29fd7e1232e_0_193"/>
          <p:cNvGrpSpPr/>
          <p:nvPr/>
        </p:nvGrpSpPr>
        <p:grpSpPr>
          <a:xfrm>
            <a:off x="6934142" y="4247346"/>
            <a:ext cx="4639283" cy="2133564"/>
            <a:chOff x="304779" y="2094614"/>
            <a:chExt cx="9203100" cy="1607204"/>
          </a:xfrm>
        </p:grpSpPr>
        <p:cxnSp>
          <p:nvCxnSpPr>
            <p:cNvPr id="92" name="Google Shape;92;g29fd7e1232e_0_193"/>
            <p:cNvCxnSpPr/>
            <p:nvPr/>
          </p:nvCxnSpPr>
          <p:spPr>
            <a:xfrm>
              <a:off x="304779" y="2094614"/>
              <a:ext cx="92031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93" name="Google Shape;93;g29fd7e1232e_0_193"/>
            <p:cNvCxnSpPr/>
            <p:nvPr/>
          </p:nvCxnSpPr>
          <p:spPr>
            <a:xfrm>
              <a:off x="304779" y="3701818"/>
              <a:ext cx="9203100" cy="0"/>
            </a:xfrm>
            <a:prstGeom prst="straightConnector1">
              <a:avLst/>
            </a:prstGeom>
            <a:noFill/>
            <a:ln w="10150" cap="sq" cmpd="sng">
              <a:solidFill>
                <a:srgbClr val="DB3A6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14DBA8-EC36-6789-6B6F-C04683F2092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E17921-D4E4-B834-DD9A-C6EF77E6D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7A6292-B4F6-37D5-919B-7B0DED7228DE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g29d43c695c9_0_384"/>
          <p:cNvSpPr txBox="1"/>
          <p:nvPr/>
        </p:nvSpPr>
        <p:spPr>
          <a:xfrm>
            <a:off x="276912" y="807311"/>
            <a:ext cx="2734143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da-DK" sz="220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Virksomhederne bekymrer sig mere for cyberkriminalitet i dag end for 12 måneder siden</a:t>
            </a:r>
          </a:p>
        </p:txBody>
      </p:sp>
      <p:pic>
        <p:nvPicPr>
          <p:cNvPr id="143" name="Google Shape;143;g29d43c695c9_0_384"/>
          <p:cNvPicPr preferRelativeResize="0"/>
          <p:nvPr/>
        </p:nvPicPr>
        <p:blipFill rotWithShape="1">
          <a:blip r:embed="rId3">
            <a:alphaModFix/>
          </a:blip>
          <a:srcRect b="45598"/>
          <a:stretch/>
        </p:blipFill>
        <p:spPr>
          <a:xfrm>
            <a:off x="3425150" y="386900"/>
            <a:ext cx="8837751" cy="2913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4" name="Google Shape;144;g29d43c695c9_0_384"/>
          <p:cNvPicPr preferRelativeResize="0"/>
          <p:nvPr/>
        </p:nvPicPr>
        <p:blipFill rotWithShape="1">
          <a:blip r:embed="rId4">
            <a:alphaModFix/>
          </a:blip>
          <a:srcRect l="49302" t="52135" b="4287"/>
          <a:stretch/>
        </p:blipFill>
        <p:spPr>
          <a:xfrm>
            <a:off x="8633900" y="3230899"/>
            <a:ext cx="3628999" cy="30381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6" name="Google Shape;146;g29d43c695c9_0_384"/>
          <p:cNvGrpSpPr/>
          <p:nvPr/>
        </p:nvGrpSpPr>
        <p:grpSpPr>
          <a:xfrm>
            <a:off x="158874" y="412329"/>
            <a:ext cx="3066473" cy="2366005"/>
            <a:chOff x="304779" y="765716"/>
            <a:chExt cx="9203100" cy="2366005"/>
          </a:xfrm>
        </p:grpSpPr>
        <p:cxnSp>
          <p:nvCxnSpPr>
            <p:cNvPr id="147" name="Google Shape;147;g29d43c695c9_0_384"/>
            <p:cNvCxnSpPr/>
            <p:nvPr/>
          </p:nvCxnSpPr>
          <p:spPr>
            <a:xfrm>
              <a:off x="304779" y="3131721"/>
              <a:ext cx="9203100" cy="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9" name="Google Shape;149;g29d43c695c9_0_384"/>
            <p:cNvCxnSpPr/>
            <p:nvPr/>
          </p:nvCxnSpPr>
          <p:spPr>
            <a:xfrm>
              <a:off x="304779" y="765716"/>
              <a:ext cx="9203100" cy="0"/>
            </a:xfrm>
            <a:prstGeom prst="straightConnector1">
              <a:avLst/>
            </a:prstGeom>
            <a:noFill/>
            <a:ln w="10150" cap="sq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pic>
        <p:nvPicPr>
          <p:cNvPr id="150" name="Google Shape;150;g29d43c695c9_0_38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3865511">
            <a:off x="10267216" y="-1744592"/>
            <a:ext cx="3297796" cy="32977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3B4BB97-ED6A-6892-E584-982588B917A6}"/>
              </a:ext>
            </a:extLst>
          </p:cNvPr>
          <p:cNvGrpSpPr/>
          <p:nvPr/>
        </p:nvGrpSpPr>
        <p:grpSpPr>
          <a:xfrm>
            <a:off x="226225" y="3943932"/>
            <a:ext cx="3721804" cy="2038414"/>
            <a:chOff x="-14400" y="1863887"/>
            <a:chExt cx="3371718" cy="1772760"/>
          </a:xfrm>
        </p:grpSpPr>
        <p:pic>
          <p:nvPicPr>
            <p:cNvPr id="2" name="Google Shape;127;g29fd7e1232e_0_84">
              <a:extLst>
                <a:ext uri="{FF2B5EF4-FFF2-40B4-BE49-F238E27FC236}">
                  <a16:creationId xmlns:a16="http://schemas.microsoft.com/office/drawing/2014/main" id="{A6E4F1B7-BCA4-635C-8674-A03352C290A2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6">
              <a:alphaModFix/>
            </a:blip>
            <a:srcRect r="1516" b="88902"/>
            <a:stretch/>
          </p:blipFill>
          <p:spPr>
            <a:xfrm>
              <a:off x="-14400" y="1863887"/>
              <a:ext cx="3368001" cy="3851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" name="Google Shape;128;g29fd7e1232e_0_84">
              <a:extLst>
                <a:ext uri="{FF2B5EF4-FFF2-40B4-BE49-F238E27FC236}">
                  <a16:creationId xmlns:a16="http://schemas.microsoft.com/office/drawing/2014/main" id="{199B220C-B537-51CC-6C36-EAA0230AAD29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6">
              <a:alphaModFix/>
            </a:blip>
            <a:srcRect t="15834" r="1516" b="48028"/>
            <a:stretch/>
          </p:blipFill>
          <p:spPr>
            <a:xfrm>
              <a:off x="-10683" y="2340091"/>
              <a:ext cx="3368001" cy="129655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4" name="Google Shape;126;g29fd7e1232e_0_84">
            <a:extLst>
              <a:ext uri="{FF2B5EF4-FFF2-40B4-BE49-F238E27FC236}">
                <a16:creationId xmlns:a16="http://schemas.microsoft.com/office/drawing/2014/main" id="{761727DD-B1FD-2334-0E1C-AFEA96E97BE9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606" t="55987"/>
          <a:stretch/>
        </p:blipFill>
        <p:spPr>
          <a:xfrm>
            <a:off x="4442691" y="4016232"/>
            <a:ext cx="4027054" cy="191097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C26BF-2A29-46A9-CA2F-7A7949A8C0D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7078A906-2D08-41E1-AB60-65B14A75BB60}" type="slidenum">
              <a:rPr lang="da-DK" smtClean="0"/>
              <a:pPr/>
              <a:t>9</a:t>
            </a:fld>
            <a:endParaRPr lang="da-DK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CDE387A-4208-B300-D89E-9AFA468BC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98ACE17-DA1E-D0A5-B0EC-D7EF4188898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da-DK"/>
              <a:t>Cyber Agenda 2024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Ds1EHESre8bUCzZNWsWw"/>
  <p:tag name="TEMPLAFYSLIDEID" val="637514127096783197"/>
</p:tagLst>
</file>

<file path=ppt/theme/theme1.xml><?xml version="1.0" encoding="utf-8"?>
<a:theme xmlns:a="http://schemas.openxmlformats.org/drawingml/2006/main" name="26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SV Template">
  <a:themeElements>
    <a:clrScheme name="DSV 2023">
      <a:dk1>
        <a:srgbClr val="000000"/>
      </a:dk1>
      <a:lt1>
        <a:srgbClr val="FFFFFF"/>
      </a:lt1>
      <a:dk2>
        <a:srgbClr val="002664"/>
      </a:dk2>
      <a:lt2>
        <a:srgbClr val="DBDCDD"/>
      </a:lt2>
      <a:accent1>
        <a:srgbClr val="0431A6"/>
      </a:accent1>
      <a:accent2>
        <a:srgbClr val="4B87E0"/>
      </a:accent2>
      <a:accent3>
        <a:srgbClr val="FFCA0C"/>
      </a:accent3>
      <a:accent4>
        <a:srgbClr val="00682A"/>
      </a:accent4>
      <a:accent5>
        <a:srgbClr val="B6551E"/>
      </a:accent5>
      <a:accent6>
        <a:srgbClr val="2F3135"/>
      </a:accent6>
      <a:hlink>
        <a:srgbClr val="4B87E0"/>
      </a:hlink>
      <a:folHlink>
        <a:srgbClr val="B6551E"/>
      </a:folHlink>
    </a:clrScheme>
    <a:fontScheme name="DS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500" noProof="0" dirty="0" err="1" smtClean="0">
            <a:solidFill>
              <a:schemeClr val="bg1"/>
            </a:solidFill>
          </a:defRPr>
        </a:defPPr>
      </a:lst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500" dirty="0" err="1" smtClean="0"/>
        </a:defPPr>
      </a:lstStyle>
    </a:txDef>
  </a:objectDefaults>
  <a:extraClrSchemeLst/>
  <a:custClrLst>
    <a:custClr name="214,224,238">
      <a:srgbClr val="D6E0EE"/>
    </a:custClr>
    <a:custClr name="180,207,226">
      <a:srgbClr val="B4CFE2"/>
    </a:custClr>
    <a:custClr name="139,179,211">
      <a:srgbClr val="8BB3D3"/>
    </a:custClr>
    <a:custClr name="124,157,190">
      <a:srgbClr val="7C9DBE"/>
    </a:custClr>
    <a:custClr name="106,135,170">
      <a:srgbClr val="6A87AA"/>
    </a:custClr>
    <a:custClr name="83,110,135">
      <a:srgbClr val="536E87"/>
    </a:custClr>
    <a:custClr name="28,83,110">
      <a:srgbClr val="1C536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217,239,201">
      <a:srgbClr val="D9EFC9"/>
    </a:custClr>
    <a:custClr name="184,222,134">
      <a:srgbClr val="B8DE86"/>
    </a:custClr>
    <a:custClr name="168,197,103">
      <a:srgbClr val="A8C567"/>
    </a:custClr>
    <a:custClr name="144,185,71">
      <a:srgbClr val="90B947"/>
    </a:custClr>
    <a:custClr name="119,151,67">
      <a:srgbClr val="779743"/>
    </a:custClr>
    <a:custClr name="90,124,30">
      <a:srgbClr val="5A7C1E"/>
    </a:custClr>
    <a:custClr name="45,88,12">
      <a:srgbClr val="2D580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254,250,192">
      <a:srgbClr val="FEFAC0"/>
    </a:custClr>
    <a:custClr name="252,243,130">
      <a:srgbClr val="FCF382"/>
    </a:custClr>
    <a:custClr name="247,225,91">
      <a:srgbClr val="F7E15B"/>
    </a:custClr>
    <a:custClr name="238,211,8">
      <a:srgbClr val="EED308"/>
    </a:custClr>
    <a:custClr name="205,183,17">
      <a:srgbClr val="CDB711"/>
    </a:custClr>
    <a:custClr name="155,139,41">
      <a:srgbClr val="9B8B29"/>
    </a:custClr>
    <a:custClr name="100,88,0">
      <a:srgbClr val="64580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255,219,191">
      <a:srgbClr val="FFDBBF"/>
    </a:custClr>
    <a:custClr name="245,191,147">
      <a:srgbClr val="F5BF93"/>
    </a:custClr>
    <a:custClr name="240,171,102">
      <a:srgbClr val="F0AB66"/>
    </a:custClr>
    <a:custClr name="218,126,46">
      <a:srgbClr val="DA7E2E"/>
    </a:custClr>
    <a:custClr name="194,111,48">
      <a:srgbClr val="C26F30"/>
    </a:custClr>
    <a:custClr name="150,89,0">
      <a:srgbClr val="965900"/>
    </a:custClr>
    <a:custClr name="105,44,17">
      <a:srgbClr val="692C1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215,217,220">
      <a:srgbClr val="D7D9DC"/>
    </a:custClr>
    <a:custClr name="170,176,186">
      <a:srgbClr val="AAB0BA"/>
    </a:custClr>
    <a:custClr name="135,141,150">
      <a:srgbClr val="878D96"/>
    </a:custClr>
    <a:custClr name="94,106,113">
      <a:srgbClr val="5E6A71"/>
    </a:custClr>
    <a:custClr name="77,84,93">
      <a:srgbClr val="4D545D"/>
    </a:custClr>
    <a:custClr name="58,63,70">
      <a:srgbClr val="3A3F46"/>
    </a:custClr>
    <a:custClr name="34,37,42">
      <a:srgbClr val="22252A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234,235,236">
      <a:srgbClr val="EAEBEC"/>
    </a:custClr>
    <a:custClr name="230,230,231">
      <a:srgbClr val="E6E6E7"/>
    </a:custClr>
    <a:custClr name="225,226,227">
      <a:srgbClr val="E1E2E3"/>
    </a:custClr>
    <a:custClr name="219,220,221">
      <a:srgbClr val="DBDCDD"/>
    </a:custClr>
    <a:custClr name="206,207,209">
      <a:srgbClr val="CECFD1"/>
    </a:custClr>
    <a:custClr name="191,193,195">
      <a:srgbClr val="BFC1C3"/>
    </a:custClr>
    <a:custClr name="170,172,174">
      <a:srgbClr val="AAACAE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Blank.potx" id="{28284086-7A12-4262-9044-C9F8E6DD62E6}" vid="{B3E5F076-49CF-497E-A0C4-B5A6051EFD10}"/>
    </a:ext>
  </a:ext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</TotalTime>
  <Words>862</Words>
  <Application>Microsoft Office PowerPoint</Application>
  <PresentationFormat>Widescreen</PresentationFormat>
  <Paragraphs>209</Paragraphs>
  <Slides>2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Helvetica Neue</vt:lpstr>
      <vt:lpstr>Georgia</vt:lpstr>
      <vt:lpstr>26_PwC</vt:lpstr>
      <vt:lpstr>DSV Template</vt:lpstr>
      <vt:lpstr>think-cell Slide</vt:lpstr>
      <vt:lpstr>PowerPoint Presentation</vt:lpstr>
      <vt:lpstr>PowerPoint Presentation</vt:lpstr>
      <vt:lpstr>DSV</vt:lpstr>
      <vt:lpstr>From local haulier to global player</vt:lpstr>
      <vt:lpstr>Our market position</vt:lpstr>
      <vt:lpstr>Our IT landscap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y lovgivning kræver et fornyet fokus fra virksomheder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e Mikkelsen (DK)</dc:creator>
  <cp:lastModifiedBy>Torben Søgaard (DK)</cp:lastModifiedBy>
  <cp:revision>6</cp:revision>
  <dcterms:created xsi:type="dcterms:W3CDTF">2022-10-31T12:22:05Z</dcterms:created>
  <dcterms:modified xsi:type="dcterms:W3CDTF">2023-12-14T09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  <property fmtid="{D5CDD505-2E9C-101B-9397-08002B2CF9AE}" pid="5" name="MSIP_Label_b0c09810-65f4-4310-9cf4-19edb1aba362_Enabled">
    <vt:lpwstr>true</vt:lpwstr>
  </property>
  <property fmtid="{D5CDD505-2E9C-101B-9397-08002B2CF9AE}" pid="6" name="MSIP_Label_b0c09810-65f4-4310-9cf4-19edb1aba362_SetDate">
    <vt:lpwstr>2023-12-14T09:29:53Z</vt:lpwstr>
  </property>
  <property fmtid="{D5CDD505-2E9C-101B-9397-08002B2CF9AE}" pid="7" name="MSIP_Label_b0c09810-65f4-4310-9cf4-19edb1aba362_Method">
    <vt:lpwstr>Standard</vt:lpwstr>
  </property>
  <property fmtid="{D5CDD505-2E9C-101B-9397-08002B2CF9AE}" pid="8" name="MSIP_Label_b0c09810-65f4-4310-9cf4-19edb1aba362_Name">
    <vt:lpwstr>Internal - Open Access</vt:lpwstr>
  </property>
  <property fmtid="{D5CDD505-2E9C-101B-9397-08002B2CF9AE}" pid="9" name="MSIP_Label_b0c09810-65f4-4310-9cf4-19edb1aba362_SiteId">
    <vt:lpwstr>513294a0-3e20-41b2-a970-6d30bf1546fa</vt:lpwstr>
  </property>
  <property fmtid="{D5CDD505-2E9C-101B-9397-08002B2CF9AE}" pid="10" name="MSIP_Label_b0c09810-65f4-4310-9cf4-19edb1aba362_ActionId">
    <vt:lpwstr>db22b2b0-101f-4929-a42b-bc3801e16698</vt:lpwstr>
  </property>
  <property fmtid="{D5CDD505-2E9C-101B-9397-08002B2CF9AE}" pid="11" name="MSIP_Label_b0c09810-65f4-4310-9cf4-19edb1aba362_ContentBits">
    <vt:lpwstr>0</vt:lpwstr>
  </property>
</Properties>
</file>